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0" r:id="rId1"/>
  </p:sldMasterIdLst>
  <p:notesMasterIdLst>
    <p:notesMasterId r:id="rId5"/>
  </p:notesMasterIdLst>
  <p:handoutMasterIdLst>
    <p:handoutMasterId r:id="rId6"/>
  </p:handoutMasterIdLst>
  <p:sldIdLst>
    <p:sldId id="792" r:id="rId2"/>
    <p:sldId id="784" r:id="rId3"/>
    <p:sldId id="794" r:id="rId4"/>
  </p:sldIdLst>
  <p:sldSz cx="9144000" cy="6858000" type="screen4x3"/>
  <p:notesSz cx="6858000" cy="9144000"/>
  <p:custDataLst>
    <p:tags r:id="rId7"/>
  </p:custDataLst>
  <p:defaultTextStyle>
    <a:defPPr>
      <a:defRPr lang="en-US"/>
    </a:defPPr>
    <a:lvl1pPr marL="0" algn="l" defTabSz="91414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75" algn="l" defTabSz="91414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48" algn="l" defTabSz="91414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22" algn="l" defTabSz="91414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295" algn="l" defTabSz="91414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370" algn="l" defTabSz="91414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442" algn="l" defTabSz="91414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517" algn="l" defTabSz="91414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591" algn="l" defTabSz="91414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8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Office" lastIdx="1" clrIdx="0"/>
  <p:cmAuthor id="2" name="Harsh Garg" initials="HG" lastIdx="28" clrIdx="1"/>
  <p:cmAuthor id="3" name="Lourdu Prasanna" initials="LP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5A8B25"/>
    <a:srgbClr val="FFFFFF"/>
    <a:srgbClr val="FBE582"/>
    <a:srgbClr val="000000"/>
    <a:srgbClr val="73FB79"/>
    <a:srgbClr val="92D050"/>
    <a:srgbClr val="60CE92"/>
    <a:srgbClr val="1DFF83"/>
    <a:srgbClr val="4EB1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854" autoAdjust="0"/>
    <p:restoredTop sz="96870" autoAdjust="0"/>
  </p:normalViewPr>
  <p:slideViewPr>
    <p:cSldViewPr snapToGrid="0" snapToObjects="1">
      <p:cViewPr varScale="1">
        <p:scale>
          <a:sx n="108" d="100"/>
          <a:sy n="108" d="100"/>
        </p:scale>
        <p:origin x="2320" y="200"/>
      </p:cViewPr>
      <p:guideLst>
        <p:guide orient="horz" pos="2160"/>
        <p:guide pos="2880"/>
        <p:guide pos="2881"/>
      </p:guideLst>
    </p:cSldViewPr>
  </p:slideViewPr>
  <p:outlineViewPr>
    <p:cViewPr>
      <p:scale>
        <a:sx n="33" d="100"/>
        <a:sy n="33" d="100"/>
      </p:scale>
      <p:origin x="0" y="-888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94" y="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0DAEC7-1DE1-41D0-8F6D-F446A5F91442}" type="datetimeFigureOut">
              <a:rPr lang="en-US" smtClean="0"/>
              <a:t>6/10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0107C4-D7B5-4B3F-8828-7831743C04C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6673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1AE64B-B051-46AE-A32D-7CD5169A5A76}" type="datetimeFigureOut">
              <a:rPr lang="en-GB" smtClean="0"/>
              <a:t>10/06/2020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4E5FDE-3D15-4728-B192-FE1006B21CB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07681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75" algn="l" defTabSz="914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48" algn="l" defTabSz="914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222" algn="l" defTabSz="914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295" algn="l" defTabSz="914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370" algn="l" defTabSz="914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442" algn="l" defTabSz="914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517" algn="l" defTabSz="914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591" algn="l" defTabSz="914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9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>
          <a:xfrm>
            <a:off x="575282" y="5499465"/>
            <a:ext cx="6053839" cy="246221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79073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>
          <a:xfrm>
            <a:off x="575282" y="5499465"/>
            <a:ext cx="6053839" cy="246221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59613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>
          <a:xfrm>
            <a:off x="575282" y="5499465"/>
            <a:ext cx="6053839" cy="246221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31968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7202913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57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28600"/>
            <a:ext cx="8693150" cy="307777"/>
          </a:xfrm>
        </p:spPr>
        <p:txBody>
          <a:bodyPr anchor="t"/>
          <a:lstStyle>
            <a:lvl1pPr>
              <a:lnSpc>
                <a:spcPct val="100000"/>
              </a:lnSpc>
              <a:defRPr sz="2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637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40C9ABF-5435-47BF-BAA8-E64FF4E6B0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85985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2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4">
            <a:extLst>
              <a:ext uri="{FF2B5EF4-FFF2-40B4-BE49-F238E27FC236}">
                <a16:creationId xmlns:a16="http://schemas.microsoft.com/office/drawing/2014/main" id="{9E1D9806-8BC4-4E3E-9A9D-31853BFC57F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75" y="0"/>
            <a:ext cx="8002588" cy="1193800"/>
          </a:xfrm>
          <a:prstGeom prst="rect">
            <a:avLst/>
          </a:prstGeom>
          <a:solidFill>
            <a:srgbClr val="29429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" name="Freeform 15">
            <a:extLst>
              <a:ext uri="{FF2B5EF4-FFF2-40B4-BE49-F238E27FC236}">
                <a16:creationId xmlns:a16="http://schemas.microsoft.com/office/drawing/2014/main" id="{E6125F11-4EE9-48A7-8DC3-BF5C7B3B37FC}"/>
              </a:ext>
            </a:extLst>
          </p:cNvPr>
          <p:cNvSpPr>
            <a:spLocks/>
          </p:cNvSpPr>
          <p:nvPr userDrawn="1"/>
        </p:nvSpPr>
        <p:spPr bwMode="auto">
          <a:xfrm>
            <a:off x="3175" y="149225"/>
            <a:ext cx="4300538" cy="4165600"/>
          </a:xfrm>
          <a:custGeom>
            <a:avLst/>
            <a:gdLst>
              <a:gd name="T0" fmla="*/ 1132 w 1329"/>
              <a:gd name="T1" fmla="*/ 679 h 1285"/>
              <a:gd name="T2" fmla="*/ 1050 w 1329"/>
              <a:gd name="T3" fmla="*/ 544 h 1285"/>
              <a:gd name="T4" fmla="*/ 594 w 1329"/>
              <a:gd name="T5" fmla="*/ 55 h 1285"/>
              <a:gd name="T6" fmla="*/ 91 w 1329"/>
              <a:gd name="T7" fmla="*/ 40 h 1285"/>
              <a:gd name="T8" fmla="*/ 0 w 1329"/>
              <a:gd name="T9" fmla="*/ 60 h 1285"/>
              <a:gd name="T10" fmla="*/ 0 w 1329"/>
              <a:gd name="T11" fmla="*/ 1285 h 1285"/>
              <a:gd name="T12" fmla="*/ 552 w 1329"/>
              <a:gd name="T13" fmla="*/ 1005 h 1285"/>
              <a:gd name="T14" fmla="*/ 1329 w 1329"/>
              <a:gd name="T15" fmla="*/ 935 h 1285"/>
              <a:gd name="T16" fmla="*/ 1132 w 1329"/>
              <a:gd name="T17" fmla="*/ 679 h 1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29" h="1285">
                <a:moveTo>
                  <a:pt x="1132" y="679"/>
                </a:moveTo>
                <a:cubicBezTo>
                  <a:pt x="1104" y="636"/>
                  <a:pt x="1078" y="591"/>
                  <a:pt x="1050" y="544"/>
                </a:cubicBezTo>
                <a:cubicBezTo>
                  <a:pt x="932" y="344"/>
                  <a:pt x="811" y="138"/>
                  <a:pt x="594" y="55"/>
                </a:cubicBezTo>
                <a:cubicBezTo>
                  <a:pt x="464" y="5"/>
                  <a:pt x="294" y="0"/>
                  <a:pt x="91" y="40"/>
                </a:cubicBezTo>
                <a:cubicBezTo>
                  <a:pt x="60" y="46"/>
                  <a:pt x="29" y="53"/>
                  <a:pt x="0" y="60"/>
                </a:cubicBezTo>
                <a:cubicBezTo>
                  <a:pt x="0" y="1285"/>
                  <a:pt x="0" y="1285"/>
                  <a:pt x="0" y="1285"/>
                </a:cubicBezTo>
                <a:cubicBezTo>
                  <a:pt x="161" y="1167"/>
                  <a:pt x="351" y="1070"/>
                  <a:pt x="552" y="1005"/>
                </a:cubicBezTo>
                <a:cubicBezTo>
                  <a:pt x="825" y="916"/>
                  <a:pt x="1093" y="892"/>
                  <a:pt x="1329" y="935"/>
                </a:cubicBezTo>
                <a:cubicBezTo>
                  <a:pt x="1262" y="865"/>
                  <a:pt x="1197" y="781"/>
                  <a:pt x="1132" y="679"/>
                </a:cubicBezTo>
                <a:close/>
              </a:path>
            </a:pathLst>
          </a:custGeo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9" name="Freeform 15">
            <a:extLst>
              <a:ext uri="{FF2B5EF4-FFF2-40B4-BE49-F238E27FC236}">
                <a16:creationId xmlns:a16="http://schemas.microsoft.com/office/drawing/2014/main" id="{F799FB3C-4351-4883-9552-225156327B7B}"/>
              </a:ext>
            </a:extLst>
          </p:cNvPr>
          <p:cNvSpPr>
            <a:spLocks/>
          </p:cNvSpPr>
          <p:nvPr userDrawn="1"/>
        </p:nvSpPr>
        <p:spPr bwMode="auto">
          <a:xfrm>
            <a:off x="3175" y="149225"/>
            <a:ext cx="4300538" cy="4165600"/>
          </a:xfrm>
          <a:custGeom>
            <a:avLst/>
            <a:gdLst>
              <a:gd name="T0" fmla="*/ 1132 w 1329"/>
              <a:gd name="T1" fmla="*/ 679 h 1285"/>
              <a:gd name="T2" fmla="*/ 1050 w 1329"/>
              <a:gd name="T3" fmla="*/ 544 h 1285"/>
              <a:gd name="T4" fmla="*/ 594 w 1329"/>
              <a:gd name="T5" fmla="*/ 55 h 1285"/>
              <a:gd name="T6" fmla="*/ 91 w 1329"/>
              <a:gd name="T7" fmla="*/ 40 h 1285"/>
              <a:gd name="T8" fmla="*/ 0 w 1329"/>
              <a:gd name="T9" fmla="*/ 60 h 1285"/>
              <a:gd name="T10" fmla="*/ 0 w 1329"/>
              <a:gd name="T11" fmla="*/ 1285 h 1285"/>
              <a:gd name="T12" fmla="*/ 552 w 1329"/>
              <a:gd name="T13" fmla="*/ 1005 h 1285"/>
              <a:gd name="T14" fmla="*/ 1329 w 1329"/>
              <a:gd name="T15" fmla="*/ 935 h 1285"/>
              <a:gd name="T16" fmla="*/ 1132 w 1329"/>
              <a:gd name="T17" fmla="*/ 679 h 1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29" h="1285">
                <a:moveTo>
                  <a:pt x="1132" y="679"/>
                </a:moveTo>
                <a:cubicBezTo>
                  <a:pt x="1104" y="636"/>
                  <a:pt x="1078" y="591"/>
                  <a:pt x="1050" y="544"/>
                </a:cubicBezTo>
                <a:cubicBezTo>
                  <a:pt x="932" y="344"/>
                  <a:pt x="811" y="138"/>
                  <a:pt x="594" y="55"/>
                </a:cubicBezTo>
                <a:cubicBezTo>
                  <a:pt x="464" y="5"/>
                  <a:pt x="294" y="0"/>
                  <a:pt x="91" y="40"/>
                </a:cubicBezTo>
                <a:cubicBezTo>
                  <a:pt x="60" y="46"/>
                  <a:pt x="29" y="53"/>
                  <a:pt x="0" y="60"/>
                </a:cubicBezTo>
                <a:cubicBezTo>
                  <a:pt x="0" y="1285"/>
                  <a:pt x="0" y="1285"/>
                  <a:pt x="0" y="1285"/>
                </a:cubicBezTo>
                <a:cubicBezTo>
                  <a:pt x="161" y="1167"/>
                  <a:pt x="351" y="1070"/>
                  <a:pt x="552" y="1005"/>
                </a:cubicBezTo>
                <a:cubicBezTo>
                  <a:pt x="825" y="916"/>
                  <a:pt x="1093" y="892"/>
                  <a:pt x="1329" y="935"/>
                </a:cubicBezTo>
                <a:cubicBezTo>
                  <a:pt x="1262" y="865"/>
                  <a:pt x="1197" y="781"/>
                  <a:pt x="1132" y="679"/>
                </a:cubicBezTo>
                <a:close/>
              </a:path>
            </a:pathLst>
          </a:custGeom>
          <a:solidFill>
            <a:schemeClr val="accent1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944687" y="4999787"/>
            <a:ext cx="6614161" cy="569387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sz="3700" b="0">
                <a:solidFill>
                  <a:schemeClr val="tx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944687" y="6096007"/>
            <a:ext cx="661416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1600" b="0" kern="1200" dirty="0" smtClean="0">
                <a:solidFill>
                  <a:schemeClr val="tx2"/>
                </a:solidFill>
                <a:effectLst/>
                <a:latin typeface="+mj-lt"/>
                <a:ea typeface="+mn-ea"/>
                <a:cs typeface="Calibri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0" name="Freeform 16">
            <a:extLst>
              <a:ext uri="{FF2B5EF4-FFF2-40B4-BE49-F238E27FC236}">
                <a16:creationId xmlns:a16="http://schemas.microsoft.com/office/drawing/2014/main" id="{D45ED570-965B-4068-99CB-5DA8FB150D5C}"/>
              </a:ext>
            </a:extLst>
          </p:cNvPr>
          <p:cNvSpPr>
            <a:spLocks/>
          </p:cNvSpPr>
          <p:nvPr userDrawn="1"/>
        </p:nvSpPr>
        <p:spPr bwMode="auto">
          <a:xfrm>
            <a:off x="3175" y="2921000"/>
            <a:ext cx="4403725" cy="2308225"/>
          </a:xfrm>
          <a:custGeom>
            <a:avLst/>
            <a:gdLst>
              <a:gd name="T0" fmla="*/ 1361 w 1361"/>
              <a:gd name="T1" fmla="*/ 97 h 712"/>
              <a:gd name="T2" fmla="*/ 0 w 1361"/>
              <a:gd name="T3" fmla="*/ 449 h 712"/>
              <a:gd name="T4" fmla="*/ 0 w 1361"/>
              <a:gd name="T5" fmla="*/ 712 h 712"/>
              <a:gd name="T6" fmla="*/ 1361 w 1361"/>
              <a:gd name="T7" fmla="*/ 97 h 712"/>
              <a:gd name="T8" fmla="*/ 1361 w 1361"/>
              <a:gd name="T9" fmla="*/ 97 h 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61" h="712">
                <a:moveTo>
                  <a:pt x="1361" y="97"/>
                </a:moveTo>
                <a:cubicBezTo>
                  <a:pt x="916" y="1"/>
                  <a:pt x="375" y="167"/>
                  <a:pt x="0" y="449"/>
                </a:cubicBezTo>
                <a:cubicBezTo>
                  <a:pt x="0" y="712"/>
                  <a:pt x="0" y="712"/>
                  <a:pt x="0" y="712"/>
                </a:cubicBezTo>
                <a:cubicBezTo>
                  <a:pt x="315" y="367"/>
                  <a:pt x="906" y="0"/>
                  <a:pt x="1361" y="97"/>
                </a:cubicBezTo>
                <a:cubicBezTo>
                  <a:pt x="1361" y="97"/>
                  <a:pt x="1361" y="97"/>
                  <a:pt x="1361" y="97"/>
                </a:cubicBezTo>
                <a:close/>
              </a:path>
            </a:pathLst>
          </a:custGeom>
          <a:solidFill>
            <a:srgbClr val="2DCC7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1" name="Freeform 17">
            <a:extLst>
              <a:ext uri="{FF2B5EF4-FFF2-40B4-BE49-F238E27FC236}">
                <a16:creationId xmlns:a16="http://schemas.microsoft.com/office/drawing/2014/main" id="{E481AA33-7015-4A05-8B73-5FE0C4724868}"/>
              </a:ext>
            </a:extLst>
          </p:cNvPr>
          <p:cNvSpPr>
            <a:spLocks/>
          </p:cNvSpPr>
          <p:nvPr userDrawn="1"/>
        </p:nvSpPr>
        <p:spPr bwMode="auto">
          <a:xfrm>
            <a:off x="3175" y="0"/>
            <a:ext cx="9144000" cy="4321175"/>
          </a:xfrm>
          <a:custGeom>
            <a:avLst/>
            <a:gdLst>
              <a:gd name="T0" fmla="*/ 2526 w 2826"/>
              <a:gd name="T1" fmla="*/ 0 h 1333"/>
              <a:gd name="T2" fmla="*/ 1596 w 2826"/>
              <a:gd name="T3" fmla="*/ 400 h 1333"/>
              <a:gd name="T4" fmla="*/ 1332 w 2826"/>
              <a:gd name="T5" fmla="*/ 362 h 1333"/>
              <a:gd name="T6" fmla="*/ 788 w 2826"/>
              <a:gd name="T7" fmla="*/ 133 h 1333"/>
              <a:gd name="T8" fmla="*/ 185 w 2826"/>
              <a:gd name="T9" fmla="*/ 38 h 1333"/>
              <a:gd name="T10" fmla="*/ 0 w 2826"/>
              <a:gd name="T11" fmla="*/ 73 h 1333"/>
              <a:gd name="T12" fmla="*/ 0 w 2826"/>
              <a:gd name="T13" fmla="*/ 122 h 1333"/>
              <a:gd name="T14" fmla="*/ 89 w 2826"/>
              <a:gd name="T15" fmla="*/ 102 h 1333"/>
              <a:gd name="T16" fmla="*/ 595 w 2826"/>
              <a:gd name="T17" fmla="*/ 117 h 1333"/>
              <a:gd name="T18" fmla="*/ 1135 w 2826"/>
              <a:gd name="T19" fmla="*/ 755 h 1333"/>
              <a:gd name="T20" fmla="*/ 1353 w 2826"/>
              <a:gd name="T21" fmla="*/ 1037 h 1333"/>
              <a:gd name="T22" fmla="*/ 1357 w 2826"/>
              <a:gd name="T23" fmla="*/ 1037 h 1333"/>
              <a:gd name="T24" fmla="*/ 1353 w 2826"/>
              <a:gd name="T25" fmla="*/ 1037 h 1333"/>
              <a:gd name="T26" fmla="*/ 1777 w 2826"/>
              <a:gd name="T27" fmla="*/ 1268 h 1333"/>
              <a:gd name="T28" fmla="*/ 2826 w 2826"/>
              <a:gd name="T29" fmla="*/ 1137 h 1333"/>
              <a:gd name="T30" fmla="*/ 2826 w 2826"/>
              <a:gd name="T31" fmla="*/ 0 h 1333"/>
              <a:gd name="T32" fmla="*/ 2526 w 2826"/>
              <a:gd name="T33" fmla="*/ 0 h 1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826" h="1333">
                <a:moveTo>
                  <a:pt x="2526" y="0"/>
                </a:moveTo>
                <a:cubicBezTo>
                  <a:pt x="2254" y="228"/>
                  <a:pt x="1931" y="401"/>
                  <a:pt x="1596" y="400"/>
                </a:cubicBezTo>
                <a:cubicBezTo>
                  <a:pt x="1501" y="400"/>
                  <a:pt x="1415" y="385"/>
                  <a:pt x="1332" y="362"/>
                </a:cubicBezTo>
                <a:cubicBezTo>
                  <a:pt x="1145" y="309"/>
                  <a:pt x="980" y="211"/>
                  <a:pt x="788" y="133"/>
                </a:cubicBezTo>
                <a:cubicBezTo>
                  <a:pt x="590" y="51"/>
                  <a:pt x="400" y="7"/>
                  <a:pt x="185" y="38"/>
                </a:cubicBezTo>
                <a:cubicBezTo>
                  <a:pt x="124" y="47"/>
                  <a:pt x="62" y="58"/>
                  <a:pt x="0" y="73"/>
                </a:cubicBezTo>
                <a:cubicBezTo>
                  <a:pt x="0" y="122"/>
                  <a:pt x="0" y="122"/>
                  <a:pt x="0" y="122"/>
                </a:cubicBezTo>
                <a:cubicBezTo>
                  <a:pt x="30" y="114"/>
                  <a:pt x="59" y="107"/>
                  <a:pt x="89" y="102"/>
                </a:cubicBezTo>
                <a:cubicBezTo>
                  <a:pt x="250" y="69"/>
                  <a:pt x="438" y="56"/>
                  <a:pt x="595" y="117"/>
                </a:cubicBezTo>
                <a:cubicBezTo>
                  <a:pt x="864" y="223"/>
                  <a:pt x="990" y="524"/>
                  <a:pt x="1135" y="755"/>
                </a:cubicBezTo>
                <a:cubicBezTo>
                  <a:pt x="1199" y="857"/>
                  <a:pt x="1270" y="954"/>
                  <a:pt x="1353" y="1037"/>
                </a:cubicBezTo>
                <a:cubicBezTo>
                  <a:pt x="1355" y="1037"/>
                  <a:pt x="1356" y="1037"/>
                  <a:pt x="1357" y="1037"/>
                </a:cubicBezTo>
                <a:cubicBezTo>
                  <a:pt x="1356" y="1037"/>
                  <a:pt x="1355" y="1037"/>
                  <a:pt x="1353" y="1037"/>
                </a:cubicBezTo>
                <a:cubicBezTo>
                  <a:pt x="1468" y="1150"/>
                  <a:pt x="1605" y="1236"/>
                  <a:pt x="1777" y="1268"/>
                </a:cubicBezTo>
                <a:cubicBezTo>
                  <a:pt x="2118" y="1333"/>
                  <a:pt x="2496" y="1276"/>
                  <a:pt x="2826" y="1137"/>
                </a:cubicBezTo>
                <a:cubicBezTo>
                  <a:pt x="2826" y="0"/>
                  <a:pt x="2826" y="0"/>
                  <a:pt x="2826" y="0"/>
                </a:cubicBezTo>
                <a:lnTo>
                  <a:pt x="2526" y="0"/>
                </a:lnTo>
                <a:close/>
              </a:path>
            </a:pathLst>
          </a:custGeom>
          <a:gradFill>
            <a:gsLst>
              <a:gs pos="0">
                <a:srgbClr val="D4A113"/>
              </a:gs>
              <a:gs pos="100000">
                <a:srgbClr val="F4C757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" name="Freeform 19">
            <a:extLst>
              <a:ext uri="{FF2B5EF4-FFF2-40B4-BE49-F238E27FC236}">
                <a16:creationId xmlns:a16="http://schemas.microsoft.com/office/drawing/2014/main" id="{D042B4CD-D9A3-403B-965E-7CB1D3ECBF01}"/>
              </a:ext>
            </a:extLst>
          </p:cNvPr>
          <p:cNvSpPr>
            <a:spLocks/>
          </p:cNvSpPr>
          <p:nvPr userDrawn="1"/>
        </p:nvSpPr>
        <p:spPr bwMode="auto">
          <a:xfrm>
            <a:off x="3175" y="-61913"/>
            <a:ext cx="9144000" cy="4243388"/>
          </a:xfrm>
          <a:custGeom>
            <a:avLst/>
            <a:gdLst>
              <a:gd name="T0" fmla="*/ 2495 w 2826"/>
              <a:gd name="T1" fmla="*/ 19 h 1309"/>
              <a:gd name="T2" fmla="*/ 1601 w 2826"/>
              <a:gd name="T3" fmla="*/ 388 h 1309"/>
              <a:gd name="T4" fmla="*/ 1338 w 2826"/>
              <a:gd name="T5" fmla="*/ 350 h 1309"/>
              <a:gd name="T6" fmla="*/ 796 w 2826"/>
              <a:gd name="T7" fmla="*/ 124 h 1309"/>
              <a:gd name="T8" fmla="*/ 195 w 2826"/>
              <a:gd name="T9" fmla="*/ 31 h 1309"/>
              <a:gd name="T10" fmla="*/ 0 w 2826"/>
              <a:gd name="T11" fmla="*/ 67 h 1309"/>
              <a:gd name="T12" fmla="*/ 0 w 2826"/>
              <a:gd name="T13" fmla="*/ 115 h 1309"/>
              <a:gd name="T14" fmla="*/ 99 w 2826"/>
              <a:gd name="T15" fmla="*/ 93 h 1309"/>
              <a:gd name="T16" fmla="*/ 603 w 2826"/>
              <a:gd name="T17" fmla="*/ 108 h 1309"/>
              <a:gd name="T18" fmla="*/ 1141 w 2826"/>
              <a:gd name="T19" fmla="*/ 738 h 1309"/>
              <a:gd name="T20" fmla="*/ 1359 w 2826"/>
              <a:gd name="T21" fmla="*/ 1016 h 1309"/>
              <a:gd name="T22" fmla="*/ 1363 w 2826"/>
              <a:gd name="T23" fmla="*/ 1017 h 1309"/>
              <a:gd name="T24" fmla="*/ 1359 w 2826"/>
              <a:gd name="T25" fmla="*/ 1016 h 1309"/>
              <a:gd name="T26" fmla="*/ 1781 w 2826"/>
              <a:gd name="T27" fmla="*/ 1245 h 1309"/>
              <a:gd name="T28" fmla="*/ 2826 w 2826"/>
              <a:gd name="T29" fmla="*/ 1116 h 1309"/>
              <a:gd name="T30" fmla="*/ 2826 w 2826"/>
              <a:gd name="T31" fmla="*/ 19 h 1309"/>
              <a:gd name="T32" fmla="*/ 2495 w 2826"/>
              <a:gd name="T33" fmla="*/ 19 h 13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826" h="1309">
                <a:moveTo>
                  <a:pt x="2495" y="19"/>
                </a:moveTo>
                <a:cubicBezTo>
                  <a:pt x="2231" y="231"/>
                  <a:pt x="1921" y="389"/>
                  <a:pt x="1601" y="388"/>
                </a:cubicBezTo>
                <a:cubicBezTo>
                  <a:pt x="1506" y="388"/>
                  <a:pt x="1420" y="373"/>
                  <a:pt x="1338" y="350"/>
                </a:cubicBezTo>
                <a:cubicBezTo>
                  <a:pt x="1152" y="298"/>
                  <a:pt x="987" y="201"/>
                  <a:pt x="796" y="124"/>
                </a:cubicBezTo>
                <a:cubicBezTo>
                  <a:pt x="598" y="43"/>
                  <a:pt x="409" y="0"/>
                  <a:pt x="195" y="31"/>
                </a:cubicBezTo>
                <a:cubicBezTo>
                  <a:pt x="131" y="40"/>
                  <a:pt x="65" y="51"/>
                  <a:pt x="0" y="67"/>
                </a:cubicBezTo>
                <a:cubicBezTo>
                  <a:pt x="0" y="115"/>
                  <a:pt x="0" y="115"/>
                  <a:pt x="0" y="115"/>
                </a:cubicBezTo>
                <a:cubicBezTo>
                  <a:pt x="33" y="107"/>
                  <a:pt x="66" y="99"/>
                  <a:pt x="99" y="93"/>
                </a:cubicBezTo>
                <a:cubicBezTo>
                  <a:pt x="260" y="61"/>
                  <a:pt x="447" y="48"/>
                  <a:pt x="603" y="108"/>
                </a:cubicBezTo>
                <a:cubicBezTo>
                  <a:pt x="872" y="212"/>
                  <a:pt x="997" y="510"/>
                  <a:pt x="1141" y="738"/>
                </a:cubicBezTo>
                <a:cubicBezTo>
                  <a:pt x="1205" y="839"/>
                  <a:pt x="1276" y="935"/>
                  <a:pt x="1359" y="1016"/>
                </a:cubicBezTo>
                <a:cubicBezTo>
                  <a:pt x="1360" y="1017"/>
                  <a:pt x="1362" y="1017"/>
                  <a:pt x="1363" y="1017"/>
                </a:cubicBezTo>
                <a:cubicBezTo>
                  <a:pt x="1362" y="1017"/>
                  <a:pt x="1360" y="1017"/>
                  <a:pt x="1359" y="1016"/>
                </a:cubicBezTo>
                <a:cubicBezTo>
                  <a:pt x="1473" y="1129"/>
                  <a:pt x="1610" y="1213"/>
                  <a:pt x="1781" y="1245"/>
                </a:cubicBezTo>
                <a:cubicBezTo>
                  <a:pt x="2121" y="1309"/>
                  <a:pt x="2497" y="1252"/>
                  <a:pt x="2826" y="1116"/>
                </a:cubicBezTo>
                <a:cubicBezTo>
                  <a:pt x="2826" y="19"/>
                  <a:pt x="2826" y="19"/>
                  <a:pt x="2826" y="19"/>
                </a:cubicBezTo>
                <a:lnTo>
                  <a:pt x="2495" y="19"/>
                </a:lnTo>
                <a:close/>
              </a:path>
            </a:pathLst>
          </a:cu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3701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0" name="Freeform 19">
            <a:extLst>
              <a:ext uri="{FF2B5EF4-FFF2-40B4-BE49-F238E27FC236}">
                <a16:creationId xmlns:a16="http://schemas.microsoft.com/office/drawing/2014/main" id="{F35AE2F3-CCD1-4A1E-AC9E-0B28B1C8961C}"/>
              </a:ext>
            </a:extLst>
          </p:cNvPr>
          <p:cNvSpPr>
            <a:spLocks/>
          </p:cNvSpPr>
          <p:nvPr userDrawn="1"/>
        </p:nvSpPr>
        <p:spPr bwMode="auto">
          <a:xfrm>
            <a:off x="3175" y="-61913"/>
            <a:ext cx="9144000" cy="4243388"/>
          </a:xfrm>
          <a:custGeom>
            <a:avLst/>
            <a:gdLst>
              <a:gd name="T0" fmla="*/ 2495 w 2826"/>
              <a:gd name="T1" fmla="*/ 19 h 1309"/>
              <a:gd name="T2" fmla="*/ 1601 w 2826"/>
              <a:gd name="T3" fmla="*/ 388 h 1309"/>
              <a:gd name="T4" fmla="*/ 1338 w 2826"/>
              <a:gd name="T5" fmla="*/ 350 h 1309"/>
              <a:gd name="T6" fmla="*/ 796 w 2826"/>
              <a:gd name="T7" fmla="*/ 124 h 1309"/>
              <a:gd name="T8" fmla="*/ 195 w 2826"/>
              <a:gd name="T9" fmla="*/ 31 h 1309"/>
              <a:gd name="T10" fmla="*/ 0 w 2826"/>
              <a:gd name="T11" fmla="*/ 67 h 1309"/>
              <a:gd name="T12" fmla="*/ 0 w 2826"/>
              <a:gd name="T13" fmla="*/ 115 h 1309"/>
              <a:gd name="T14" fmla="*/ 99 w 2826"/>
              <a:gd name="T15" fmla="*/ 93 h 1309"/>
              <a:gd name="T16" fmla="*/ 603 w 2826"/>
              <a:gd name="T17" fmla="*/ 108 h 1309"/>
              <a:gd name="T18" fmla="*/ 1141 w 2826"/>
              <a:gd name="T19" fmla="*/ 738 h 1309"/>
              <a:gd name="T20" fmla="*/ 1359 w 2826"/>
              <a:gd name="T21" fmla="*/ 1016 h 1309"/>
              <a:gd name="T22" fmla="*/ 1363 w 2826"/>
              <a:gd name="T23" fmla="*/ 1017 h 1309"/>
              <a:gd name="T24" fmla="*/ 1359 w 2826"/>
              <a:gd name="T25" fmla="*/ 1016 h 1309"/>
              <a:gd name="T26" fmla="*/ 1781 w 2826"/>
              <a:gd name="T27" fmla="*/ 1245 h 1309"/>
              <a:gd name="T28" fmla="*/ 2826 w 2826"/>
              <a:gd name="T29" fmla="*/ 1116 h 1309"/>
              <a:gd name="T30" fmla="*/ 2826 w 2826"/>
              <a:gd name="T31" fmla="*/ 19 h 1309"/>
              <a:gd name="T32" fmla="*/ 2495 w 2826"/>
              <a:gd name="T33" fmla="*/ 19 h 13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826" h="1309">
                <a:moveTo>
                  <a:pt x="2495" y="19"/>
                </a:moveTo>
                <a:cubicBezTo>
                  <a:pt x="2231" y="231"/>
                  <a:pt x="1921" y="389"/>
                  <a:pt x="1601" y="388"/>
                </a:cubicBezTo>
                <a:cubicBezTo>
                  <a:pt x="1506" y="388"/>
                  <a:pt x="1420" y="373"/>
                  <a:pt x="1338" y="350"/>
                </a:cubicBezTo>
                <a:cubicBezTo>
                  <a:pt x="1152" y="298"/>
                  <a:pt x="987" y="201"/>
                  <a:pt x="796" y="124"/>
                </a:cubicBezTo>
                <a:cubicBezTo>
                  <a:pt x="598" y="43"/>
                  <a:pt x="409" y="0"/>
                  <a:pt x="195" y="31"/>
                </a:cubicBezTo>
                <a:cubicBezTo>
                  <a:pt x="131" y="40"/>
                  <a:pt x="65" y="51"/>
                  <a:pt x="0" y="67"/>
                </a:cubicBezTo>
                <a:cubicBezTo>
                  <a:pt x="0" y="115"/>
                  <a:pt x="0" y="115"/>
                  <a:pt x="0" y="115"/>
                </a:cubicBezTo>
                <a:cubicBezTo>
                  <a:pt x="33" y="107"/>
                  <a:pt x="66" y="99"/>
                  <a:pt x="99" y="93"/>
                </a:cubicBezTo>
                <a:cubicBezTo>
                  <a:pt x="260" y="61"/>
                  <a:pt x="447" y="48"/>
                  <a:pt x="603" y="108"/>
                </a:cubicBezTo>
                <a:cubicBezTo>
                  <a:pt x="872" y="212"/>
                  <a:pt x="997" y="510"/>
                  <a:pt x="1141" y="738"/>
                </a:cubicBezTo>
                <a:cubicBezTo>
                  <a:pt x="1205" y="839"/>
                  <a:pt x="1276" y="935"/>
                  <a:pt x="1359" y="1016"/>
                </a:cubicBezTo>
                <a:cubicBezTo>
                  <a:pt x="1360" y="1017"/>
                  <a:pt x="1362" y="1017"/>
                  <a:pt x="1363" y="1017"/>
                </a:cubicBezTo>
                <a:cubicBezTo>
                  <a:pt x="1362" y="1017"/>
                  <a:pt x="1360" y="1017"/>
                  <a:pt x="1359" y="1016"/>
                </a:cubicBezTo>
                <a:cubicBezTo>
                  <a:pt x="1473" y="1129"/>
                  <a:pt x="1610" y="1213"/>
                  <a:pt x="1781" y="1245"/>
                </a:cubicBezTo>
                <a:cubicBezTo>
                  <a:pt x="2121" y="1309"/>
                  <a:pt x="2497" y="1252"/>
                  <a:pt x="2826" y="1116"/>
                </a:cubicBezTo>
                <a:cubicBezTo>
                  <a:pt x="2826" y="19"/>
                  <a:pt x="2826" y="19"/>
                  <a:pt x="2826" y="19"/>
                </a:cubicBezTo>
                <a:lnTo>
                  <a:pt x="2495" y="19"/>
                </a:lnTo>
                <a:close/>
              </a:path>
            </a:pathLst>
          </a:custGeom>
          <a:gradFill>
            <a:gsLst>
              <a:gs pos="37000">
                <a:schemeClr val="accent3"/>
              </a:gs>
              <a:gs pos="100000">
                <a:schemeClr val="accent3">
                  <a:alpha val="54000"/>
                </a:schemeClr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" name="Freeform 18">
            <a:extLst>
              <a:ext uri="{FF2B5EF4-FFF2-40B4-BE49-F238E27FC236}">
                <a16:creationId xmlns:a16="http://schemas.microsoft.com/office/drawing/2014/main" id="{656EFD13-1DEE-4BDB-BAD2-CA8FACDDBE41}"/>
              </a:ext>
            </a:extLst>
          </p:cNvPr>
          <p:cNvSpPr>
            <a:spLocks/>
          </p:cNvSpPr>
          <p:nvPr userDrawn="1"/>
        </p:nvSpPr>
        <p:spPr bwMode="auto">
          <a:xfrm>
            <a:off x="4338638" y="0"/>
            <a:ext cx="3744913" cy="1274763"/>
          </a:xfrm>
          <a:custGeom>
            <a:avLst/>
            <a:gdLst>
              <a:gd name="T0" fmla="*/ 968 w 1157"/>
              <a:gd name="T1" fmla="*/ 0 h 393"/>
              <a:gd name="T2" fmla="*/ 0 w 1157"/>
              <a:gd name="T3" fmla="*/ 332 h 393"/>
              <a:gd name="T4" fmla="*/ 262 w 1157"/>
              <a:gd name="T5" fmla="*/ 370 h 393"/>
              <a:gd name="T6" fmla="*/ 1157 w 1157"/>
              <a:gd name="T7" fmla="*/ 0 h 393"/>
              <a:gd name="T8" fmla="*/ 968 w 1157"/>
              <a:gd name="T9" fmla="*/ 0 h 3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57" h="393">
                <a:moveTo>
                  <a:pt x="968" y="0"/>
                </a:moveTo>
                <a:cubicBezTo>
                  <a:pt x="686" y="229"/>
                  <a:pt x="367" y="393"/>
                  <a:pt x="0" y="332"/>
                </a:cubicBezTo>
                <a:cubicBezTo>
                  <a:pt x="82" y="355"/>
                  <a:pt x="168" y="370"/>
                  <a:pt x="262" y="370"/>
                </a:cubicBezTo>
                <a:cubicBezTo>
                  <a:pt x="583" y="371"/>
                  <a:pt x="893" y="212"/>
                  <a:pt x="1157" y="0"/>
                </a:cubicBezTo>
                <a:lnTo>
                  <a:pt x="968" y="0"/>
                </a:lnTo>
                <a:close/>
              </a:path>
            </a:pathLst>
          </a:custGeom>
          <a:solidFill>
            <a:srgbClr val="EC672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1C03409-DB1A-48B7-9AD2-30D304866F6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44687" y="4190430"/>
            <a:ext cx="2393951" cy="565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256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image" Target="../media/image2.png"/><Relationship Id="rId5" Type="http://schemas.openxmlformats.org/officeDocument/2006/relationships/tags" Target="../tags/tag2.xml"/><Relationship Id="rId10" Type="http://schemas.openxmlformats.org/officeDocument/2006/relationships/image" Target="../media/image1.emf"/><Relationship Id="rId4" Type="http://schemas.openxmlformats.org/officeDocument/2006/relationships/vmlDrawing" Target="../drawings/vmlDrawing1.v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19324103"/>
              </p:ext>
            </p:extLst>
          </p:nvPr>
        </p:nvGraphicFramePr>
        <p:xfrm>
          <a:off x="1624" y="16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5"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24" y="1624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286"/>
          <p:cNvSpPr>
            <a:spLocks noGrp="1" noChangeArrowheads="1"/>
          </p:cNvSpPr>
          <p:nvPr>
            <p:ph type="body" idx="1"/>
            <p:custDataLst>
              <p:tags r:id="rId6"/>
            </p:custDataLst>
          </p:nvPr>
        </p:nvSpPr>
        <p:spPr bwMode="auto">
          <a:xfrm>
            <a:off x="2000828" y="1990667"/>
            <a:ext cx="5142345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8" name="Slide Title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228599" y="228600"/>
            <a:ext cx="875820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0" name="Pentagon 8"/>
          <p:cNvSpPr/>
          <p:nvPr/>
        </p:nvSpPr>
        <p:spPr bwMode="auto">
          <a:xfrm>
            <a:off x="0" y="6498403"/>
            <a:ext cx="385059" cy="251755"/>
          </a:xfrm>
          <a:prstGeom prst="homePlate">
            <a:avLst>
              <a:gd name="adj" fmla="val 28125"/>
            </a:avLst>
          </a:prstGeom>
          <a:solidFill>
            <a:srgbClr val="FFD10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3432" tIns="73432" rIns="73432" bIns="73432" numCol="1" rtlCol="0" anchor="ctr" anchorCtr="0" compatLnSpc="1">
            <a:prstTxWarp prst="textNoShape">
              <a:avLst/>
            </a:prstTxWarp>
          </a:bodyPr>
          <a:lstStyle/>
          <a:p>
            <a:pPr defTabSz="932704" fontAlgn="base">
              <a:spcBef>
                <a:spcPct val="0"/>
              </a:spcBef>
              <a:spcAft>
                <a:spcPct val="0"/>
              </a:spcAft>
            </a:pPr>
            <a:endParaRPr lang="en-IN" sz="900" b="1" dirty="0">
              <a:solidFill>
                <a:schemeClr val="tx1"/>
              </a:solidFill>
              <a:latin typeface="+mj-lt"/>
              <a:cs typeface="Calibri" pitchFamily="34" charset="0"/>
            </a:endParaRPr>
          </a:p>
        </p:txBody>
      </p:sp>
      <p:sp>
        <p:nvSpPr>
          <p:cNvPr id="31" name="Slide Number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21997" y="6555031"/>
            <a:ext cx="141064" cy="138499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00" b="1" smtClean="0">
                <a:solidFill>
                  <a:schemeClr val="tx1"/>
                </a:solidFill>
                <a:latin typeface="+mj-lt"/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chemeClr val="tx1"/>
              </a:solidFill>
              <a:latin typeface="+mj-lt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39A0AB2-6CD2-4C95-BBB7-6015E3AF604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16796" y="6335229"/>
            <a:ext cx="1570013" cy="370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201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1" r:id="rId2"/>
  </p:sldLayoutIdLst>
  <p:hf hdr="0" ftr="0" dt="0"/>
  <p:txStyles>
    <p:titleStyle>
      <a:lvl1pPr algn="l" defTabSz="913273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defRPr lang="en-GB" sz="2000" b="1" kern="1200" dirty="0">
          <a:ln w="1270">
            <a:noFill/>
          </a:ln>
          <a:solidFill>
            <a:schemeClr val="tx2"/>
          </a:solidFill>
          <a:latin typeface="+mj-lt"/>
          <a:ea typeface="+mn-ea"/>
          <a:cs typeface="Calibri" pitchFamily="34" charset="0"/>
        </a:defRPr>
      </a:lvl1pPr>
      <a:lvl2pPr algn="l" defTabSz="913273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defRPr sz="2200" b="1">
          <a:solidFill>
            <a:srgbClr val="002E51"/>
          </a:solidFill>
          <a:effectLst>
            <a:outerShdw blurRad="38100" dist="38100" dir="2700000" algn="tl">
              <a:srgbClr val="C0C0C0"/>
            </a:outerShdw>
          </a:effectLst>
          <a:latin typeface="Calibri" pitchFamily="34" charset="0"/>
          <a:cs typeface="Calibri" pitchFamily="34" charset="0"/>
        </a:defRPr>
      </a:lvl2pPr>
      <a:lvl3pPr algn="l" defTabSz="913273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defRPr sz="2200" b="1">
          <a:solidFill>
            <a:srgbClr val="002E51"/>
          </a:solidFill>
          <a:effectLst>
            <a:outerShdw blurRad="38100" dist="38100" dir="2700000" algn="tl">
              <a:srgbClr val="C0C0C0"/>
            </a:outerShdw>
          </a:effectLst>
          <a:latin typeface="Calibri" pitchFamily="34" charset="0"/>
          <a:cs typeface="Calibri" pitchFamily="34" charset="0"/>
        </a:defRPr>
      </a:lvl3pPr>
      <a:lvl4pPr algn="l" defTabSz="913273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defRPr sz="2200" b="1">
          <a:solidFill>
            <a:srgbClr val="002E51"/>
          </a:solidFill>
          <a:effectLst>
            <a:outerShdw blurRad="38100" dist="38100" dir="2700000" algn="tl">
              <a:srgbClr val="C0C0C0"/>
            </a:outerShdw>
          </a:effectLst>
          <a:latin typeface="Calibri" pitchFamily="34" charset="0"/>
          <a:cs typeface="Calibri" pitchFamily="34" charset="0"/>
        </a:defRPr>
      </a:lvl4pPr>
      <a:lvl5pPr algn="l" defTabSz="913273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defRPr sz="2200" b="1">
          <a:solidFill>
            <a:srgbClr val="002E51"/>
          </a:solidFill>
          <a:effectLst>
            <a:outerShdw blurRad="38100" dist="38100" dir="2700000" algn="tl">
              <a:srgbClr val="C0C0C0"/>
            </a:outerShdw>
          </a:effectLst>
          <a:latin typeface="Calibri" pitchFamily="34" charset="0"/>
          <a:cs typeface="Calibri" pitchFamily="34" charset="0"/>
        </a:defRPr>
      </a:lvl5pPr>
      <a:lvl6pPr marL="466351" algn="l" defTabSz="91327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6pPr>
      <a:lvl7pPr marL="932704" algn="l" defTabSz="91327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7pPr>
      <a:lvl8pPr marL="1399058" algn="l" defTabSz="91327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8pPr>
      <a:lvl9pPr marL="1865411" algn="l" defTabSz="91327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9pPr>
    </p:titleStyle>
    <p:bodyStyle>
      <a:lvl1pPr marL="0" indent="0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>
          <a:solidFill>
            <a:schemeClr val="tx1"/>
          </a:solidFill>
          <a:latin typeface="+mj-lt"/>
          <a:ea typeface="+mn-ea"/>
          <a:cs typeface="Calibri" pitchFamily="34" charset="0"/>
        </a:defRPr>
      </a:lvl1pPr>
      <a:lvl2pPr marL="197552" indent="-195933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>
          <a:solidFill>
            <a:schemeClr val="tx1"/>
          </a:solidFill>
          <a:latin typeface="+mj-lt"/>
          <a:cs typeface="Calibri" pitchFamily="34" charset="0"/>
        </a:defRPr>
      </a:lvl2pPr>
      <a:lvl3pPr marL="466351" indent="-267180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>
          <a:solidFill>
            <a:schemeClr val="tx1"/>
          </a:solidFill>
          <a:latin typeface="+mj-lt"/>
          <a:cs typeface="Calibri" pitchFamily="34" charset="0"/>
        </a:defRPr>
      </a:lvl3pPr>
      <a:lvl4pPr marL="626662" indent="-158689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>
          <a:solidFill>
            <a:schemeClr val="tx1"/>
          </a:solidFill>
          <a:latin typeface="+mj-lt"/>
          <a:cs typeface="Calibri" pitchFamily="34" charset="0"/>
        </a:defRPr>
      </a:lvl4pPr>
      <a:lvl5pPr marL="761061" indent="-132781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j-lt"/>
          <a:cs typeface="Calibri" pitchFamily="34" charset="0"/>
        </a:defRPr>
      </a:lvl5pPr>
      <a:lvl6pPr marL="1227413" indent="-132781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93767" indent="-132781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60119" indent="-132781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626471" indent="-132781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51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04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058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11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763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114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467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819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slideLayout" Target="../slideLayouts/slideLayout1.xml"/><Relationship Id="rId21" Type="http://schemas.openxmlformats.org/officeDocument/2006/relationships/image" Target="../media/image22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tags" Target="../tags/tag10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12.jp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8.png"/><Relationship Id="rId3" Type="http://schemas.openxmlformats.org/officeDocument/2006/relationships/slideLayout" Target="../slideLayouts/slideLayout1.xml"/><Relationship Id="rId21" Type="http://schemas.openxmlformats.org/officeDocument/2006/relationships/image" Target="../media/image2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7.png"/><Relationship Id="rId2" Type="http://schemas.openxmlformats.org/officeDocument/2006/relationships/tags" Target="../tags/tag12.xml"/><Relationship Id="rId16" Type="http://schemas.openxmlformats.org/officeDocument/2006/relationships/image" Target="../media/image16.png"/><Relationship Id="rId20" Type="http://schemas.openxmlformats.org/officeDocument/2006/relationships/image" Target="../media/image23.png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12.jp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15.png"/><Relationship Id="rId23" Type="http://schemas.openxmlformats.org/officeDocument/2006/relationships/image" Target="../media/image26.png"/><Relationship Id="rId10" Type="http://schemas.openxmlformats.org/officeDocument/2006/relationships/image" Target="../media/image11.png"/><Relationship Id="rId19" Type="http://schemas.openxmlformats.org/officeDocument/2006/relationships/image" Target="../media/image19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0.png"/><Relationship Id="rId14" Type="http://schemas.openxmlformats.org/officeDocument/2006/relationships/image" Target="../media/image21.png"/><Relationship Id="rId22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9A2F0B5-C507-0141-AE3E-8F57646FA1CE}"/>
              </a:ext>
            </a:extLst>
          </p:cNvPr>
          <p:cNvSpPr/>
          <p:nvPr/>
        </p:nvSpPr>
        <p:spPr bwMode="auto">
          <a:xfrm>
            <a:off x="0" y="1145937"/>
            <a:ext cx="9144000" cy="5094514"/>
          </a:xfrm>
          <a:prstGeom prst="rect">
            <a:avLst/>
          </a:prstGeom>
          <a:solidFill>
            <a:schemeClr val="bg2">
              <a:lumMod val="9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9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07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9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D0C500D9-644D-704C-9AE9-A2294C9BF552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43158"/>
            <a:ext cx="9144000" cy="435879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4D31EBA-A5CF-644B-9839-1F927094E49F}"/>
              </a:ext>
            </a:extLst>
          </p:cNvPr>
          <p:cNvSpPr/>
          <p:nvPr/>
        </p:nvSpPr>
        <p:spPr bwMode="auto">
          <a:xfrm>
            <a:off x="3842853" y="2293662"/>
            <a:ext cx="520003" cy="924449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4" name="Picture 3" descr="A screen shot of a person&#10;&#10;Description automatically generated">
            <a:extLst>
              <a:ext uri="{FF2B5EF4-FFF2-40B4-BE49-F238E27FC236}">
                <a16:creationId xmlns:a16="http://schemas.microsoft.com/office/drawing/2014/main" id="{8E5B951C-F208-9745-9347-2ACFF85C18F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3904" y="2288875"/>
            <a:ext cx="520003" cy="92444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A7ECE945-22D0-924A-9862-C9FE70C25A36}"/>
              </a:ext>
            </a:extLst>
          </p:cNvPr>
          <p:cNvSpPr txBox="1">
            <a:spLocks/>
          </p:cNvSpPr>
          <p:nvPr/>
        </p:nvSpPr>
        <p:spPr bwMode="auto">
          <a:xfrm>
            <a:off x="335280" y="196572"/>
            <a:ext cx="869315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273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GB" sz="2000" b="1" kern="1200">
                <a:ln w="1270">
                  <a:noFill/>
                </a:ln>
                <a:solidFill>
                  <a:schemeClr val="tx2"/>
                </a:solidFill>
                <a:latin typeface="+mj-lt"/>
                <a:ea typeface="+mn-ea"/>
                <a:cs typeface="Calibri" pitchFamily="34" charset="0"/>
              </a:defRPr>
            </a:lvl1pPr>
            <a:lvl2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2pPr>
            <a:lvl3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3pPr>
            <a:lvl4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4pPr>
            <a:lvl5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5pPr>
            <a:lvl6pPr marL="46635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6pPr>
            <a:lvl7pPr marL="932704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7pPr>
            <a:lvl8pPr marL="1399058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8pPr>
            <a:lvl9pPr marL="186541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9pPr>
          </a:lstStyle>
          <a:p>
            <a:r>
              <a:rPr lang="en-IN" dirty="0"/>
              <a:t>Open Source components can also be reused to create other products</a:t>
            </a:r>
          </a:p>
          <a:p>
            <a:r>
              <a:rPr lang="en-IN" sz="1800" dirty="0">
                <a:latin typeface="Calibri" panose="020F0502020204030204" pitchFamily="34" charset="0"/>
              </a:rPr>
              <a:t>Type 1 – With existing Open Source components and existing wiring</a:t>
            </a: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21755" y="566139"/>
            <a:ext cx="8793595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Unit of measure</a:t>
            </a:r>
          </a:p>
        </p:txBody>
      </p:sp>
    </p:spTree>
    <p:extLst>
      <p:ext uri="{BB962C8B-B14F-4D97-AF65-F5344CB8AC3E}">
        <p14:creationId xmlns:p14="http://schemas.microsoft.com/office/powerpoint/2010/main" val="5886178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9A2F0B5-C507-0141-AE3E-8F57646FA1CE}"/>
              </a:ext>
            </a:extLst>
          </p:cNvPr>
          <p:cNvSpPr/>
          <p:nvPr/>
        </p:nvSpPr>
        <p:spPr bwMode="auto">
          <a:xfrm>
            <a:off x="0" y="1145937"/>
            <a:ext cx="9144000" cy="5094514"/>
          </a:xfrm>
          <a:prstGeom prst="rect">
            <a:avLst/>
          </a:prstGeom>
          <a:solidFill>
            <a:schemeClr val="bg2">
              <a:lumMod val="9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9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11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9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A7ECE945-22D0-924A-9862-C9FE70C25A36}"/>
              </a:ext>
            </a:extLst>
          </p:cNvPr>
          <p:cNvSpPr txBox="1">
            <a:spLocks/>
          </p:cNvSpPr>
          <p:nvPr/>
        </p:nvSpPr>
        <p:spPr bwMode="auto">
          <a:xfrm>
            <a:off x="335280" y="196572"/>
            <a:ext cx="869315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273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GB" sz="2000" b="1" kern="1200">
                <a:ln w="1270">
                  <a:noFill/>
                </a:ln>
                <a:solidFill>
                  <a:schemeClr val="tx2"/>
                </a:solidFill>
                <a:latin typeface="+mj-lt"/>
                <a:ea typeface="+mn-ea"/>
                <a:cs typeface="Calibri" pitchFamily="34" charset="0"/>
              </a:defRPr>
            </a:lvl1pPr>
            <a:lvl2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2pPr>
            <a:lvl3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3pPr>
            <a:lvl4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4pPr>
            <a:lvl5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5pPr>
            <a:lvl6pPr marL="46635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6pPr>
            <a:lvl7pPr marL="932704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7pPr>
            <a:lvl8pPr marL="1399058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8pPr>
            <a:lvl9pPr marL="186541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9pPr>
          </a:lstStyle>
          <a:p>
            <a:r>
              <a:rPr lang="en-IN" dirty="0"/>
              <a:t>Open Source components can also be reused to create other products</a:t>
            </a:r>
          </a:p>
          <a:p>
            <a:r>
              <a:rPr lang="en-IN" sz="1800" dirty="0">
                <a:latin typeface="Calibri" panose="020F0502020204030204" pitchFamily="34" charset="0"/>
              </a:rPr>
              <a:t>Type 2 – With existing Open Source components and updated wiring</a:t>
            </a: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21755" y="566139"/>
            <a:ext cx="8793595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Unit of meas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A53A53D-DB4E-904D-875B-4288BB2A7542}"/>
              </a:ext>
            </a:extLst>
          </p:cNvPr>
          <p:cNvGrpSpPr/>
          <p:nvPr/>
        </p:nvGrpSpPr>
        <p:grpSpPr>
          <a:xfrm>
            <a:off x="-148259" y="1307746"/>
            <a:ext cx="9292259" cy="4625988"/>
            <a:chOff x="-148259" y="1307746"/>
            <a:chExt cx="9292259" cy="4625988"/>
          </a:xfrm>
        </p:grpSpPr>
        <p:pic>
          <p:nvPicPr>
            <p:cNvPr id="16" name="Picture 176" descr="Image result for mobile mock up">
              <a:extLst>
                <a:ext uri="{FF2B5EF4-FFF2-40B4-BE49-F238E27FC236}">
                  <a16:creationId xmlns:a16="http://schemas.microsoft.com/office/drawing/2014/main" id="{29415667-4290-5843-B7D7-9CCD708CA20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643" t="4769" r="27674" b="5018"/>
            <a:stretch/>
          </p:blipFill>
          <p:spPr bwMode="auto">
            <a:xfrm>
              <a:off x="3791806" y="2313964"/>
              <a:ext cx="561452" cy="1133531"/>
            </a:xfrm>
            <a:prstGeom prst="rect">
              <a:avLst/>
            </a:prstGeom>
            <a:noFill/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7" name="Google Shape;329;p22">
              <a:extLst>
                <a:ext uri="{FF2B5EF4-FFF2-40B4-BE49-F238E27FC236}">
                  <a16:creationId xmlns:a16="http://schemas.microsoft.com/office/drawing/2014/main" id="{C540C6CC-981D-7946-A5A2-086358FA65B8}"/>
                </a:ext>
              </a:extLst>
            </p:cNvPr>
            <p:cNvCxnSpPr>
              <a:cxnSpLocks/>
            </p:cNvCxnSpPr>
            <p:nvPr/>
          </p:nvCxnSpPr>
          <p:spPr>
            <a:xfrm>
              <a:off x="2079140" y="2694783"/>
              <a:ext cx="1548000" cy="0"/>
            </a:xfrm>
            <a:prstGeom prst="straightConnector1">
              <a:avLst/>
            </a:prstGeom>
            <a:noFill/>
            <a:ln w="12700" cap="flat" cmpd="sng">
              <a:solidFill>
                <a:srgbClr val="294294"/>
              </a:solidFill>
              <a:prstDash val="solid"/>
              <a:round/>
              <a:headEnd type="triangle" w="med" len="med"/>
              <a:tailEnd type="triangle" w="med" len="med"/>
            </a:ln>
          </p:spPr>
        </p:cxnSp>
        <p:sp>
          <p:nvSpPr>
            <p:cNvPr id="18" name="Google Shape;330;p22">
              <a:extLst>
                <a:ext uri="{FF2B5EF4-FFF2-40B4-BE49-F238E27FC236}">
                  <a16:creationId xmlns:a16="http://schemas.microsoft.com/office/drawing/2014/main" id="{D17620C6-7F46-E944-A346-5ACA725E2A6A}"/>
                </a:ext>
              </a:extLst>
            </p:cNvPr>
            <p:cNvSpPr txBox="1"/>
            <p:nvPr/>
          </p:nvSpPr>
          <p:spPr>
            <a:xfrm>
              <a:off x="2222637" y="2399788"/>
              <a:ext cx="1327734" cy="3278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68569" rIns="68569" bIns="68569" anchor="t" anchorCtr="0">
              <a:noAutofit/>
            </a:bodyPr>
            <a:lstStyle/>
            <a:p>
              <a:pPr algn="ctr"/>
              <a:r>
                <a:rPr lang="en-US" sz="1050" dirty="0">
                  <a:latin typeface="Calibri"/>
                  <a:ea typeface="Calibri"/>
                  <a:cs typeface="Calibri"/>
                  <a:sym typeface="Calibri"/>
                </a:rPr>
                <a:t>User Authentication</a:t>
              </a:r>
              <a:endParaRPr sz="1050" dirty="0"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9" name="Google Shape;334;p22">
              <a:extLst>
                <a:ext uri="{FF2B5EF4-FFF2-40B4-BE49-F238E27FC236}">
                  <a16:creationId xmlns:a16="http://schemas.microsoft.com/office/drawing/2014/main" id="{0095073F-8A85-3741-AB7A-735760A6AC82}"/>
                </a:ext>
              </a:extLst>
            </p:cNvPr>
            <p:cNvPicPr preferRelativeResize="0">
              <a:picLocks noChangeAspect="1"/>
            </p:cNvPicPr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2377767" y="2831339"/>
              <a:ext cx="1017475" cy="28672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0" name="Google Shape;342;p22">
              <a:extLst>
                <a:ext uri="{FF2B5EF4-FFF2-40B4-BE49-F238E27FC236}">
                  <a16:creationId xmlns:a16="http://schemas.microsoft.com/office/drawing/2014/main" id="{7376848C-A611-B045-964C-BFDD0E443A95}"/>
                </a:ext>
              </a:extLst>
            </p:cNvPr>
            <p:cNvSpPr txBox="1"/>
            <p:nvPr/>
          </p:nvSpPr>
          <p:spPr>
            <a:xfrm>
              <a:off x="833744" y="3032668"/>
              <a:ext cx="1327733" cy="4837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68569" rIns="68569" bIns="68569" anchor="t" anchorCtr="0">
              <a:noAutofit/>
            </a:bodyPr>
            <a:lstStyle/>
            <a:p>
              <a:pPr algn="ctr"/>
              <a:r>
                <a:rPr lang="en-US" sz="1050" dirty="0">
                  <a:latin typeface="Calibri"/>
                  <a:ea typeface="Calibri"/>
                  <a:cs typeface="Calibri"/>
                  <a:sym typeface="Calibri"/>
                </a:rPr>
                <a:t>Admin Management </a:t>
              </a:r>
            </a:p>
            <a:p>
              <a:pPr algn="ctr"/>
              <a:r>
                <a:rPr lang="en-US" sz="1050" dirty="0">
                  <a:latin typeface="Calibri"/>
                  <a:ea typeface="Calibri"/>
                  <a:cs typeface="Calibri"/>
                  <a:sym typeface="Calibri"/>
                </a:rPr>
                <a:t>Panel</a:t>
              </a:r>
              <a:endParaRPr sz="1050" dirty="0"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1" name="Google Shape;361;p22" descr="Related image">
              <a:extLst>
                <a:ext uri="{FF2B5EF4-FFF2-40B4-BE49-F238E27FC236}">
                  <a16:creationId xmlns:a16="http://schemas.microsoft.com/office/drawing/2014/main" id="{A3FBA9B1-E3FB-3346-AE26-7F7AD683EF8C}"/>
                </a:ext>
              </a:extLst>
            </p:cNvPr>
            <p:cNvPicPr preferRelativeResize="0"/>
            <p:nvPr/>
          </p:nvPicPr>
          <p:blipFill rotWithShape="1">
            <a:blip r:embed="rId9">
              <a:alphaModFix/>
            </a:blip>
            <a:srcRect l="4077" r="4086"/>
            <a:stretch/>
          </p:blipFill>
          <p:spPr>
            <a:xfrm>
              <a:off x="931399" y="2367926"/>
              <a:ext cx="1132425" cy="66474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" name="Google Shape;362;p22">
              <a:extLst>
                <a:ext uri="{FF2B5EF4-FFF2-40B4-BE49-F238E27FC236}">
                  <a16:creationId xmlns:a16="http://schemas.microsoft.com/office/drawing/2014/main" id="{EE4FD29D-D3A7-994F-9F9D-64537BC59BC6}"/>
                </a:ext>
              </a:extLst>
            </p:cNvPr>
            <p:cNvPicPr preferRelativeResize="0"/>
            <p:nvPr/>
          </p:nvPicPr>
          <p:blipFill rotWithShape="1">
            <a:blip r:embed="rId10">
              <a:alphaModFix/>
            </a:blip>
            <a:srcRect t="11707"/>
            <a:stretch/>
          </p:blipFill>
          <p:spPr>
            <a:xfrm>
              <a:off x="7972177" y="2404588"/>
              <a:ext cx="838529" cy="522149"/>
            </a:xfrm>
            <a:prstGeom prst="rect">
              <a:avLst/>
            </a:prstGeom>
            <a:noFill/>
            <a:ln w="9525" cap="flat" cmpd="sng">
              <a:solidFill>
                <a:srgbClr val="5C5C5F"/>
              </a:solidFill>
              <a:prstDash val="solid"/>
              <a:round/>
              <a:headEnd type="none" w="sm" len="sm"/>
              <a:tailEnd type="none" w="sm" len="sm"/>
            </a:ln>
          </p:spPr>
        </p:pic>
        <p:pic>
          <p:nvPicPr>
            <p:cNvPr id="23" name="Google Shape;358;p22" descr="Related image">
              <a:extLst>
                <a:ext uri="{FF2B5EF4-FFF2-40B4-BE49-F238E27FC236}">
                  <a16:creationId xmlns:a16="http://schemas.microsoft.com/office/drawing/2014/main" id="{DDC082AC-F617-8E41-A94A-47398E8248C4}"/>
                </a:ext>
              </a:extLst>
            </p:cNvPr>
            <p:cNvPicPr preferRelativeResize="0"/>
            <p:nvPr/>
          </p:nvPicPr>
          <p:blipFill rotWithShape="1">
            <a:blip r:embed="rId11">
              <a:alphaModFix/>
            </a:blip>
            <a:srcRect l="10210" t="4030" r="10202" b="4159"/>
            <a:stretch/>
          </p:blipFill>
          <p:spPr>
            <a:xfrm>
              <a:off x="6143828" y="2390166"/>
              <a:ext cx="504000" cy="58139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4" name="Google Shape;330;p22">
              <a:extLst>
                <a:ext uri="{FF2B5EF4-FFF2-40B4-BE49-F238E27FC236}">
                  <a16:creationId xmlns:a16="http://schemas.microsoft.com/office/drawing/2014/main" id="{381F0254-D999-F041-9713-7219BBC9895E}"/>
                </a:ext>
              </a:extLst>
            </p:cNvPr>
            <p:cNvSpPr txBox="1"/>
            <p:nvPr/>
          </p:nvSpPr>
          <p:spPr>
            <a:xfrm>
              <a:off x="5723767" y="2926737"/>
              <a:ext cx="1327734" cy="5064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68569" rIns="68569" bIns="68569" anchor="t" anchorCtr="0">
              <a:noAutofit/>
            </a:bodyPr>
            <a:lstStyle/>
            <a:p>
              <a:pPr algn="ctr"/>
              <a:r>
                <a:rPr lang="en-US" sz="1050" dirty="0">
                  <a:latin typeface="Calibri"/>
                  <a:ea typeface="Calibri"/>
                  <a:cs typeface="Calibri"/>
                  <a:sym typeface="Calibri"/>
                </a:rPr>
                <a:t>Submission Databases</a:t>
              </a:r>
              <a:endParaRPr sz="1050" dirty="0"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25" name="Google Shape;329;p22">
              <a:extLst>
                <a:ext uri="{FF2B5EF4-FFF2-40B4-BE49-F238E27FC236}">
                  <a16:creationId xmlns:a16="http://schemas.microsoft.com/office/drawing/2014/main" id="{D59767EA-C653-1443-8C22-43D69E9E9C4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53660" y="3516345"/>
              <a:ext cx="0" cy="250194"/>
            </a:xfrm>
            <a:prstGeom prst="straightConnector1">
              <a:avLst/>
            </a:prstGeom>
            <a:noFill/>
            <a:ln w="12700" cap="flat" cmpd="sng">
              <a:solidFill>
                <a:srgbClr val="294294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  <p:pic>
          <p:nvPicPr>
            <p:cNvPr id="26" name="Picture 25" descr="A drawing of a cartoon character&#10;&#10;Description automatically generated">
              <a:extLst>
                <a:ext uri="{FF2B5EF4-FFF2-40B4-BE49-F238E27FC236}">
                  <a16:creationId xmlns:a16="http://schemas.microsoft.com/office/drawing/2014/main" id="{C5E21E34-75FC-F94B-A127-B12A6A801A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244219" y="3798515"/>
              <a:ext cx="421265" cy="374458"/>
            </a:xfrm>
            <a:prstGeom prst="rect">
              <a:avLst/>
            </a:prstGeom>
          </p:spPr>
        </p:pic>
        <p:pic>
          <p:nvPicPr>
            <p:cNvPr id="27" name="Picture 26" descr="A picture containing bird&#10;&#10;Description automatically generated">
              <a:extLst>
                <a:ext uri="{FF2B5EF4-FFF2-40B4-BE49-F238E27FC236}">
                  <a16:creationId xmlns:a16="http://schemas.microsoft.com/office/drawing/2014/main" id="{A69F4D38-827C-154A-954A-6DE0EC439E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687266" y="3631477"/>
              <a:ext cx="676674" cy="601488"/>
            </a:xfrm>
            <a:prstGeom prst="rect">
              <a:avLst/>
            </a:prstGeom>
          </p:spPr>
        </p:pic>
        <p:sp>
          <p:nvSpPr>
            <p:cNvPr id="28" name="Google Shape;342;p22">
              <a:extLst>
                <a:ext uri="{FF2B5EF4-FFF2-40B4-BE49-F238E27FC236}">
                  <a16:creationId xmlns:a16="http://schemas.microsoft.com/office/drawing/2014/main" id="{2CF9704F-1D8E-CE49-A43E-B347DF897102}"/>
                </a:ext>
              </a:extLst>
            </p:cNvPr>
            <p:cNvSpPr txBox="1"/>
            <p:nvPr/>
          </p:nvSpPr>
          <p:spPr>
            <a:xfrm>
              <a:off x="2198015" y="3446034"/>
              <a:ext cx="1278247" cy="3025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68569" rIns="68569" bIns="68569" anchor="t" anchorCtr="0">
              <a:noAutofit/>
            </a:bodyPr>
            <a:lstStyle/>
            <a:p>
              <a:pPr algn="ctr"/>
              <a:r>
                <a:rPr lang="en-US" sz="1050" dirty="0">
                  <a:latin typeface="Calibri"/>
                  <a:ea typeface="Calibri"/>
                  <a:cs typeface="Calibri"/>
                  <a:sym typeface="Calibri"/>
                </a:rPr>
                <a:t>Application Logs</a:t>
              </a:r>
            </a:p>
          </p:txBody>
        </p:sp>
        <p:cxnSp>
          <p:nvCxnSpPr>
            <p:cNvPr id="29" name="Google Shape;329;p22">
              <a:extLst>
                <a:ext uri="{FF2B5EF4-FFF2-40B4-BE49-F238E27FC236}">
                  <a16:creationId xmlns:a16="http://schemas.microsoft.com/office/drawing/2014/main" id="{6EEE3A9F-4AAE-DD40-AFC5-B03A7884013C}"/>
                </a:ext>
              </a:extLst>
            </p:cNvPr>
            <p:cNvCxnSpPr>
              <a:cxnSpLocks/>
              <a:endCxn id="23" idx="1"/>
            </p:cNvCxnSpPr>
            <p:nvPr/>
          </p:nvCxnSpPr>
          <p:spPr>
            <a:xfrm flipV="1">
              <a:off x="4391055" y="2680866"/>
              <a:ext cx="1752773" cy="13918"/>
            </a:xfrm>
            <a:prstGeom prst="straightConnector1">
              <a:avLst/>
            </a:prstGeom>
            <a:noFill/>
            <a:ln w="12700" cap="flat" cmpd="sng">
              <a:solidFill>
                <a:srgbClr val="294294"/>
              </a:solidFill>
              <a:prstDash val="solid"/>
              <a:round/>
              <a:headEnd type="triangle" w="med" len="med"/>
              <a:tailEnd type="triangle" w="med" len="med"/>
            </a:ln>
          </p:spPr>
        </p:cxnSp>
        <p:cxnSp>
          <p:nvCxnSpPr>
            <p:cNvPr id="31" name="Google Shape;329;p22">
              <a:extLst>
                <a:ext uri="{FF2B5EF4-FFF2-40B4-BE49-F238E27FC236}">
                  <a16:creationId xmlns:a16="http://schemas.microsoft.com/office/drawing/2014/main" id="{9DDD4219-F853-9D43-8952-043F6968216E}"/>
                </a:ext>
              </a:extLst>
            </p:cNvPr>
            <p:cNvCxnSpPr>
              <a:cxnSpLocks/>
            </p:cNvCxnSpPr>
            <p:nvPr/>
          </p:nvCxnSpPr>
          <p:spPr>
            <a:xfrm>
              <a:off x="6649429" y="2684133"/>
              <a:ext cx="1224000" cy="0"/>
            </a:xfrm>
            <a:prstGeom prst="straightConnector1">
              <a:avLst/>
            </a:prstGeom>
            <a:noFill/>
            <a:ln w="12700" cap="flat" cmpd="sng">
              <a:solidFill>
                <a:srgbClr val="294294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  <p:sp>
          <p:nvSpPr>
            <p:cNvPr id="32" name="Google Shape;330;p22">
              <a:extLst>
                <a:ext uri="{FF2B5EF4-FFF2-40B4-BE49-F238E27FC236}">
                  <a16:creationId xmlns:a16="http://schemas.microsoft.com/office/drawing/2014/main" id="{4C3132E8-3AA8-4746-A892-4FEF6CA8DA33}"/>
                </a:ext>
              </a:extLst>
            </p:cNvPr>
            <p:cNvSpPr txBox="1"/>
            <p:nvPr/>
          </p:nvSpPr>
          <p:spPr>
            <a:xfrm>
              <a:off x="6550695" y="2364934"/>
              <a:ext cx="1327734" cy="3278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68569" rIns="68569" bIns="68569" anchor="t" anchorCtr="0">
              <a:noAutofit/>
            </a:bodyPr>
            <a:lstStyle/>
            <a:p>
              <a:pPr algn="ctr"/>
              <a:r>
                <a:rPr lang="en-US" sz="1050" dirty="0">
                  <a:latin typeface="Calibri"/>
                  <a:ea typeface="Calibri"/>
                  <a:cs typeface="Calibri"/>
                  <a:sym typeface="Calibri"/>
                </a:rPr>
                <a:t>Data Preparation</a:t>
              </a:r>
              <a:endParaRPr sz="1050" dirty="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342;p22">
              <a:extLst>
                <a:ext uri="{FF2B5EF4-FFF2-40B4-BE49-F238E27FC236}">
                  <a16:creationId xmlns:a16="http://schemas.microsoft.com/office/drawing/2014/main" id="{DBB614B5-2739-0B48-B56A-23B4526799F8}"/>
                </a:ext>
              </a:extLst>
            </p:cNvPr>
            <p:cNvSpPr txBox="1"/>
            <p:nvPr/>
          </p:nvSpPr>
          <p:spPr>
            <a:xfrm>
              <a:off x="7638884" y="2976187"/>
              <a:ext cx="1505116" cy="4837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68569" rIns="68569" bIns="68569" anchor="t" anchorCtr="0">
              <a:noAutofit/>
            </a:bodyPr>
            <a:lstStyle/>
            <a:p>
              <a:pPr algn="ctr"/>
              <a:r>
                <a:rPr lang="en-US" sz="1050" dirty="0">
                  <a:latin typeface="Calibri"/>
                  <a:ea typeface="Calibri"/>
                  <a:cs typeface="Calibri"/>
                  <a:sym typeface="Calibri"/>
                </a:rPr>
                <a:t>Visualization </a:t>
              </a:r>
            </a:p>
            <a:p>
              <a:pPr algn="ctr"/>
              <a:r>
                <a:rPr lang="en-US" sz="1050" dirty="0">
                  <a:latin typeface="Calibri"/>
                  <a:ea typeface="Calibri"/>
                  <a:cs typeface="Calibri"/>
                  <a:sym typeface="Calibri"/>
                </a:rPr>
                <a:t>Portal</a:t>
              </a:r>
              <a:endParaRPr sz="1050" dirty="0"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4" name="Google Shape;361;p22" descr="Related image">
              <a:extLst>
                <a:ext uri="{FF2B5EF4-FFF2-40B4-BE49-F238E27FC236}">
                  <a16:creationId xmlns:a16="http://schemas.microsoft.com/office/drawing/2014/main" id="{2A9DDA0D-76D3-134E-BBC7-ED7A37B3B1C3}"/>
                </a:ext>
              </a:extLst>
            </p:cNvPr>
            <p:cNvPicPr preferRelativeResize="0"/>
            <p:nvPr/>
          </p:nvPicPr>
          <p:blipFill rotWithShape="1">
            <a:blip r:embed="rId9">
              <a:alphaModFix/>
            </a:blip>
            <a:srcRect l="4077" r="4086"/>
            <a:stretch/>
          </p:blipFill>
          <p:spPr>
            <a:xfrm>
              <a:off x="7826899" y="2356301"/>
              <a:ext cx="1132425" cy="66474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5" name="Picture 34" descr="A close up of a logo&#10;&#10;Description automatically generated">
              <a:extLst>
                <a:ext uri="{FF2B5EF4-FFF2-40B4-BE49-F238E27FC236}">
                  <a16:creationId xmlns:a16="http://schemas.microsoft.com/office/drawing/2014/main" id="{3DEA3EBD-839B-B649-969A-789BB453CC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005469" y="2764444"/>
              <a:ext cx="463788" cy="412256"/>
            </a:xfrm>
            <a:prstGeom prst="rect">
              <a:avLst/>
            </a:prstGeom>
          </p:spPr>
        </p:pic>
        <p:sp>
          <p:nvSpPr>
            <p:cNvPr id="36" name="Google Shape;342;p22">
              <a:extLst>
                <a:ext uri="{FF2B5EF4-FFF2-40B4-BE49-F238E27FC236}">
                  <a16:creationId xmlns:a16="http://schemas.microsoft.com/office/drawing/2014/main" id="{7C29A54C-1FB1-9E48-AF1A-2E11C5BB14A5}"/>
                </a:ext>
              </a:extLst>
            </p:cNvPr>
            <p:cNvSpPr txBox="1"/>
            <p:nvPr/>
          </p:nvSpPr>
          <p:spPr>
            <a:xfrm>
              <a:off x="209389" y="1634666"/>
              <a:ext cx="2551981" cy="3278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68569" rIns="68569" bIns="68569" anchor="t" anchorCtr="0">
              <a:noAutofit/>
            </a:bodyPr>
            <a:lstStyle/>
            <a:p>
              <a:pPr algn="ctr"/>
              <a:r>
                <a:rPr lang="en-US" sz="1050" i="1" dirty="0">
                  <a:solidFill>
                    <a:srgbClr val="C00000"/>
                  </a:solidFill>
                  <a:latin typeface="Calibri"/>
                  <a:ea typeface="Calibri"/>
                  <a:cs typeface="Calibri"/>
                  <a:sym typeface="Calibri"/>
                </a:rPr>
                <a:t>Application Control Component</a:t>
              </a:r>
              <a:endParaRPr sz="1050" i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7" name="Google Shape;329;p22">
              <a:extLst>
                <a:ext uri="{FF2B5EF4-FFF2-40B4-BE49-F238E27FC236}">
                  <a16:creationId xmlns:a16="http://schemas.microsoft.com/office/drawing/2014/main" id="{8F85DBD3-66FF-7C4E-A151-6BB0EB62E75C}"/>
                </a:ext>
              </a:extLst>
            </p:cNvPr>
            <p:cNvCxnSpPr>
              <a:cxnSpLocks/>
            </p:cNvCxnSpPr>
            <p:nvPr/>
          </p:nvCxnSpPr>
          <p:spPr>
            <a:xfrm>
              <a:off x="496712" y="2718469"/>
              <a:ext cx="2091" cy="458231"/>
            </a:xfrm>
            <a:prstGeom prst="straightConnector1">
              <a:avLst/>
            </a:prstGeom>
            <a:noFill/>
            <a:ln w="12700" cap="flat" cmpd="sng">
              <a:solidFill>
                <a:srgbClr val="294294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  <p:pic>
          <p:nvPicPr>
            <p:cNvPr id="38" name="Google Shape;358;p22" descr="Related image">
              <a:extLst>
                <a:ext uri="{FF2B5EF4-FFF2-40B4-BE49-F238E27FC236}">
                  <a16:creationId xmlns:a16="http://schemas.microsoft.com/office/drawing/2014/main" id="{6D3C1C32-2876-DC4F-B704-D6B377FBEAAF}"/>
                </a:ext>
              </a:extLst>
            </p:cNvPr>
            <p:cNvPicPr preferRelativeResize="0"/>
            <p:nvPr/>
          </p:nvPicPr>
          <p:blipFill rotWithShape="1">
            <a:blip r:embed="rId11">
              <a:alphaModFix/>
            </a:blip>
            <a:srcRect l="10210" t="4030" r="10202" b="4159"/>
            <a:stretch/>
          </p:blipFill>
          <p:spPr>
            <a:xfrm>
              <a:off x="263608" y="3254784"/>
              <a:ext cx="504000" cy="58139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9" name="Google Shape;330;p22">
              <a:extLst>
                <a:ext uri="{FF2B5EF4-FFF2-40B4-BE49-F238E27FC236}">
                  <a16:creationId xmlns:a16="http://schemas.microsoft.com/office/drawing/2014/main" id="{F4A7C229-3153-5949-8398-8F2170123D49}"/>
                </a:ext>
              </a:extLst>
            </p:cNvPr>
            <p:cNvSpPr txBox="1"/>
            <p:nvPr/>
          </p:nvSpPr>
          <p:spPr>
            <a:xfrm>
              <a:off x="-148259" y="3798100"/>
              <a:ext cx="1327734" cy="5064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68569" rIns="68569" bIns="68569" anchor="t" anchorCtr="0">
              <a:noAutofit/>
            </a:bodyPr>
            <a:lstStyle/>
            <a:p>
              <a:pPr algn="ctr"/>
              <a:r>
                <a:rPr lang="en-US" sz="1050" dirty="0">
                  <a:latin typeface="Calibri"/>
                  <a:ea typeface="Calibri"/>
                  <a:cs typeface="Calibri"/>
                  <a:sym typeface="Calibri"/>
                </a:rPr>
                <a:t>Department Databases</a:t>
              </a:r>
              <a:endParaRPr sz="1050" dirty="0"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0" name="Google Shape;329;p22">
              <a:extLst>
                <a:ext uri="{FF2B5EF4-FFF2-40B4-BE49-F238E27FC236}">
                  <a16:creationId xmlns:a16="http://schemas.microsoft.com/office/drawing/2014/main" id="{8EF02055-88EA-EA4C-BDA8-7BA712E5AEA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14536" y="3483287"/>
              <a:ext cx="0" cy="274907"/>
            </a:xfrm>
            <a:prstGeom prst="straightConnector1">
              <a:avLst/>
            </a:prstGeom>
            <a:noFill/>
            <a:ln w="12700" cap="flat" cmpd="sng">
              <a:solidFill>
                <a:srgbClr val="294294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  <p:cxnSp>
          <p:nvCxnSpPr>
            <p:cNvPr id="41" name="Google Shape;329;p22">
              <a:extLst>
                <a:ext uri="{FF2B5EF4-FFF2-40B4-BE49-F238E27FC236}">
                  <a16:creationId xmlns:a16="http://schemas.microsoft.com/office/drawing/2014/main" id="{F631DBBE-9724-924E-880C-1C1DC9713D4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814536" y="3766539"/>
              <a:ext cx="2139124" cy="0"/>
            </a:xfrm>
            <a:prstGeom prst="straightConnector1">
              <a:avLst/>
            </a:prstGeom>
            <a:noFill/>
            <a:ln w="12700" cap="flat" cmpd="sng">
              <a:solidFill>
                <a:srgbClr val="29429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3" name="Google Shape;342;p22">
              <a:extLst>
                <a:ext uri="{FF2B5EF4-FFF2-40B4-BE49-F238E27FC236}">
                  <a16:creationId xmlns:a16="http://schemas.microsoft.com/office/drawing/2014/main" id="{73C47CEC-E85B-5F49-A768-7E445577A479}"/>
                </a:ext>
              </a:extLst>
            </p:cNvPr>
            <p:cNvSpPr txBox="1"/>
            <p:nvPr/>
          </p:nvSpPr>
          <p:spPr>
            <a:xfrm>
              <a:off x="6905541" y="1648139"/>
              <a:ext cx="2136850" cy="3278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68569" rIns="68569" bIns="68569" anchor="t" anchorCtr="0">
              <a:noAutofit/>
            </a:bodyPr>
            <a:lstStyle/>
            <a:p>
              <a:pPr algn="ctr"/>
              <a:r>
                <a:rPr lang="en-US" sz="1050" i="1" dirty="0">
                  <a:solidFill>
                    <a:srgbClr val="C00000"/>
                  </a:solidFill>
                  <a:latin typeface="Calibri"/>
                  <a:ea typeface="Calibri"/>
                  <a:cs typeface="Calibri"/>
                  <a:sym typeface="Calibri"/>
                </a:rPr>
                <a:t>Data Analytics Component</a:t>
              </a:r>
              <a:endParaRPr sz="1050" i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5" name="Google Shape;341;p22">
              <a:extLst>
                <a:ext uri="{FF2B5EF4-FFF2-40B4-BE49-F238E27FC236}">
                  <a16:creationId xmlns:a16="http://schemas.microsoft.com/office/drawing/2014/main" id="{28A31791-1D4F-4C4D-BEB6-E84173A99469}"/>
                </a:ext>
              </a:extLst>
            </p:cNvPr>
            <p:cNvPicPr preferRelativeResize="0"/>
            <p:nvPr/>
          </p:nvPicPr>
          <p:blipFill>
            <a:blip r:embed="rId15">
              <a:alphaModFix/>
            </a:blip>
            <a:stretch>
              <a:fillRect/>
            </a:stretch>
          </p:blipFill>
          <p:spPr>
            <a:xfrm>
              <a:off x="1086248" y="2420546"/>
              <a:ext cx="808216" cy="483947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46" name="Google Shape;329;p22">
              <a:extLst>
                <a:ext uri="{FF2B5EF4-FFF2-40B4-BE49-F238E27FC236}">
                  <a16:creationId xmlns:a16="http://schemas.microsoft.com/office/drawing/2014/main" id="{75BA23CE-BA11-144E-A834-D792D9A94670}"/>
                </a:ext>
              </a:extLst>
            </p:cNvPr>
            <p:cNvCxnSpPr>
              <a:cxnSpLocks/>
              <a:stCxn id="21" idx="1"/>
            </p:cNvCxnSpPr>
            <p:nvPr/>
          </p:nvCxnSpPr>
          <p:spPr>
            <a:xfrm flipH="1">
              <a:off x="498803" y="2700297"/>
              <a:ext cx="432596" cy="3112"/>
            </a:xfrm>
            <a:prstGeom prst="straightConnector1">
              <a:avLst/>
            </a:prstGeom>
            <a:noFill/>
            <a:ln w="12700" cap="flat" cmpd="sng">
              <a:solidFill>
                <a:srgbClr val="29429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pic>
          <p:nvPicPr>
            <p:cNvPr id="47" name="Picture 46" descr="A picture containing drawing, table&#10;&#10;Description automatically generated">
              <a:extLst>
                <a:ext uri="{FF2B5EF4-FFF2-40B4-BE49-F238E27FC236}">
                  <a16:creationId xmlns:a16="http://schemas.microsoft.com/office/drawing/2014/main" id="{6CA37DF2-32DF-A445-94B2-369AD7721A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570221" y="5090524"/>
              <a:ext cx="606910" cy="539475"/>
            </a:xfrm>
            <a:prstGeom prst="rect">
              <a:avLst/>
            </a:prstGeom>
          </p:spPr>
        </p:pic>
        <p:pic>
          <p:nvPicPr>
            <p:cNvPr id="48" name="Picture 47" descr="A picture containing food, light&#10;&#10;Description automatically generated">
              <a:extLst>
                <a:ext uri="{FF2B5EF4-FFF2-40B4-BE49-F238E27FC236}">
                  <a16:creationId xmlns:a16="http://schemas.microsoft.com/office/drawing/2014/main" id="{3E9C89CC-09F5-284C-A3AF-02314AEB4A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4301303" y="5111235"/>
              <a:ext cx="485010" cy="431119"/>
            </a:xfrm>
            <a:prstGeom prst="rect">
              <a:avLst/>
            </a:prstGeom>
          </p:spPr>
        </p:pic>
        <p:pic>
          <p:nvPicPr>
            <p:cNvPr id="49" name="Picture 48" descr="A picture containing table&#10;&#10;Description automatically generated">
              <a:extLst>
                <a:ext uri="{FF2B5EF4-FFF2-40B4-BE49-F238E27FC236}">
                  <a16:creationId xmlns:a16="http://schemas.microsoft.com/office/drawing/2014/main" id="{6B91B0C7-E0BB-E74C-9A71-597ABFA981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865687" y="5045781"/>
              <a:ext cx="729703" cy="648624"/>
            </a:xfrm>
            <a:prstGeom prst="rect">
              <a:avLst/>
            </a:prstGeom>
          </p:spPr>
        </p:pic>
        <p:sp>
          <p:nvSpPr>
            <p:cNvPr id="50" name="Google Shape;342;p22">
              <a:extLst>
                <a:ext uri="{FF2B5EF4-FFF2-40B4-BE49-F238E27FC236}">
                  <a16:creationId xmlns:a16="http://schemas.microsoft.com/office/drawing/2014/main" id="{9C5FDB96-DABD-884F-A63D-92DF3AAE266D}"/>
                </a:ext>
              </a:extLst>
            </p:cNvPr>
            <p:cNvSpPr txBox="1"/>
            <p:nvPr/>
          </p:nvSpPr>
          <p:spPr>
            <a:xfrm>
              <a:off x="1221696" y="4792348"/>
              <a:ext cx="2669537" cy="3278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68569" rIns="68569" bIns="68569" anchor="t" anchorCtr="0">
              <a:noAutofit/>
            </a:bodyPr>
            <a:lstStyle/>
            <a:p>
              <a:pPr algn="ctr"/>
              <a:r>
                <a:rPr lang="en-US" sz="1050" i="1" dirty="0">
                  <a:solidFill>
                    <a:srgbClr val="C00000"/>
                  </a:solidFill>
                  <a:latin typeface="Calibri"/>
                  <a:ea typeface="Calibri"/>
                  <a:cs typeface="Calibri"/>
                  <a:sym typeface="Calibri"/>
                </a:rPr>
                <a:t>Application Logging Component</a:t>
              </a:r>
              <a:endParaRPr sz="1050" i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1" name="Google Shape;358;p22" descr="Related image">
              <a:extLst>
                <a:ext uri="{FF2B5EF4-FFF2-40B4-BE49-F238E27FC236}">
                  <a16:creationId xmlns:a16="http://schemas.microsoft.com/office/drawing/2014/main" id="{3592FC01-0318-F245-87D4-B6F8B11266A8}"/>
                </a:ext>
              </a:extLst>
            </p:cNvPr>
            <p:cNvPicPr preferRelativeResize="0"/>
            <p:nvPr/>
          </p:nvPicPr>
          <p:blipFill rotWithShape="1">
            <a:blip r:embed="rId11">
              <a:alphaModFix/>
            </a:blip>
            <a:srcRect l="10210" t="4030" r="10202" b="4159"/>
            <a:stretch/>
          </p:blipFill>
          <p:spPr>
            <a:xfrm>
              <a:off x="5949015" y="3729931"/>
              <a:ext cx="313685" cy="32783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2" name="Google Shape;330;p22">
              <a:extLst>
                <a:ext uri="{FF2B5EF4-FFF2-40B4-BE49-F238E27FC236}">
                  <a16:creationId xmlns:a16="http://schemas.microsoft.com/office/drawing/2014/main" id="{64EB29D8-D128-D34F-B1B1-5CE33ABCB3BD}"/>
                </a:ext>
              </a:extLst>
            </p:cNvPr>
            <p:cNvSpPr txBox="1"/>
            <p:nvPr/>
          </p:nvSpPr>
          <p:spPr>
            <a:xfrm>
              <a:off x="5609371" y="4003203"/>
              <a:ext cx="1591200" cy="26687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68569" rIns="68569" bIns="68569" anchor="t" anchorCtr="0">
              <a:noAutofit/>
            </a:bodyPr>
            <a:lstStyle/>
            <a:p>
              <a:pPr algn="ctr"/>
              <a:r>
                <a:rPr lang="en-US" sz="1050" dirty="0">
                  <a:latin typeface="Calibri"/>
                  <a:ea typeface="Calibri"/>
                  <a:cs typeface="Calibri"/>
                  <a:sym typeface="Calibri"/>
                </a:rPr>
                <a:t>Additional App Databases</a:t>
              </a:r>
              <a:endParaRPr sz="1050" dirty="0"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3" name="Google Shape;358;p22" descr="Related image">
              <a:extLst>
                <a:ext uri="{FF2B5EF4-FFF2-40B4-BE49-F238E27FC236}">
                  <a16:creationId xmlns:a16="http://schemas.microsoft.com/office/drawing/2014/main" id="{D1A053EB-8283-FB44-815B-C4925DBA692F}"/>
                </a:ext>
              </a:extLst>
            </p:cNvPr>
            <p:cNvPicPr preferRelativeResize="0"/>
            <p:nvPr/>
          </p:nvPicPr>
          <p:blipFill rotWithShape="1">
            <a:blip r:embed="rId11">
              <a:alphaModFix/>
            </a:blip>
            <a:srcRect l="10210" t="4030" r="10202" b="4159"/>
            <a:stretch/>
          </p:blipFill>
          <p:spPr>
            <a:xfrm>
              <a:off x="6248129" y="3732231"/>
              <a:ext cx="313685" cy="32783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4" name="Google Shape;358;p22" descr="Related image">
              <a:extLst>
                <a:ext uri="{FF2B5EF4-FFF2-40B4-BE49-F238E27FC236}">
                  <a16:creationId xmlns:a16="http://schemas.microsoft.com/office/drawing/2014/main" id="{7E50F2BC-DC98-984F-95B3-79C2FC8A9EEA}"/>
                </a:ext>
              </a:extLst>
            </p:cNvPr>
            <p:cNvPicPr preferRelativeResize="0"/>
            <p:nvPr/>
          </p:nvPicPr>
          <p:blipFill rotWithShape="1">
            <a:blip r:embed="rId11">
              <a:alphaModFix/>
            </a:blip>
            <a:srcRect l="10210" t="4030" r="10202" b="4159"/>
            <a:stretch/>
          </p:blipFill>
          <p:spPr>
            <a:xfrm>
              <a:off x="6591856" y="3732231"/>
              <a:ext cx="313685" cy="327837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55" name="Google Shape;329;p22">
              <a:extLst>
                <a:ext uri="{FF2B5EF4-FFF2-40B4-BE49-F238E27FC236}">
                  <a16:creationId xmlns:a16="http://schemas.microsoft.com/office/drawing/2014/main" id="{0278BAF5-8905-6D45-8E66-A08CDD3320B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476173" y="3658306"/>
              <a:ext cx="9207" cy="904728"/>
            </a:xfrm>
            <a:prstGeom prst="straightConnector1">
              <a:avLst/>
            </a:prstGeom>
            <a:noFill/>
            <a:ln w="12700" cap="flat" cmpd="sng">
              <a:solidFill>
                <a:srgbClr val="294294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  <p:cxnSp>
          <p:nvCxnSpPr>
            <p:cNvPr id="56" name="Google Shape;329;p22">
              <a:extLst>
                <a:ext uri="{FF2B5EF4-FFF2-40B4-BE49-F238E27FC236}">
                  <a16:creationId xmlns:a16="http://schemas.microsoft.com/office/drawing/2014/main" id="{B8195533-1648-BF43-9377-6E14B5AA3D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488900" y="4560214"/>
              <a:ext cx="4906928" cy="0"/>
            </a:xfrm>
            <a:prstGeom prst="straightConnector1">
              <a:avLst/>
            </a:prstGeom>
            <a:noFill/>
            <a:ln w="12700" cap="flat" cmpd="sng">
              <a:solidFill>
                <a:srgbClr val="29429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7" name="Google Shape;329;p22">
              <a:extLst>
                <a:ext uri="{FF2B5EF4-FFF2-40B4-BE49-F238E27FC236}">
                  <a16:creationId xmlns:a16="http://schemas.microsoft.com/office/drawing/2014/main" id="{8EA2AF06-78E7-4E42-BA51-B4439B6838F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95828" y="4304522"/>
              <a:ext cx="0" cy="255692"/>
            </a:xfrm>
            <a:prstGeom prst="straightConnector1">
              <a:avLst/>
            </a:prstGeom>
            <a:noFill/>
            <a:ln w="12700" cap="flat" cmpd="sng">
              <a:solidFill>
                <a:srgbClr val="294294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  <p:cxnSp>
          <p:nvCxnSpPr>
            <p:cNvPr id="58" name="Google Shape;329;p22">
              <a:extLst>
                <a:ext uri="{FF2B5EF4-FFF2-40B4-BE49-F238E27FC236}">
                  <a16:creationId xmlns:a16="http://schemas.microsoft.com/office/drawing/2014/main" id="{66249E06-62DE-D34F-974A-7920EFFA741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95828" y="3309648"/>
              <a:ext cx="0" cy="340287"/>
            </a:xfrm>
            <a:prstGeom prst="straightConnector1">
              <a:avLst/>
            </a:prstGeom>
            <a:noFill/>
            <a:ln w="12700" cap="flat" cmpd="sng">
              <a:solidFill>
                <a:srgbClr val="294294"/>
              </a:solidFill>
              <a:prstDash val="solid"/>
              <a:round/>
              <a:headEnd type="triangle" w="med" len="med"/>
              <a:tailEnd type="triangle" w="med" len="med"/>
            </a:ln>
          </p:spPr>
        </p:cxnSp>
        <p:sp>
          <p:nvSpPr>
            <p:cNvPr id="59" name="Right Bracket 58">
              <a:extLst>
                <a:ext uri="{FF2B5EF4-FFF2-40B4-BE49-F238E27FC236}">
                  <a16:creationId xmlns:a16="http://schemas.microsoft.com/office/drawing/2014/main" id="{4F7D033A-BABA-0A4F-9BEB-DE219D0BEE00}"/>
                </a:ext>
              </a:extLst>
            </p:cNvPr>
            <p:cNvSpPr/>
            <p:nvPr/>
          </p:nvSpPr>
          <p:spPr>
            <a:xfrm rot="16200000">
              <a:off x="1414157" y="834669"/>
              <a:ext cx="142444" cy="2306261"/>
            </a:xfrm>
            <a:prstGeom prst="rightBracke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1" name="Right Bracket 60">
              <a:extLst>
                <a:ext uri="{FF2B5EF4-FFF2-40B4-BE49-F238E27FC236}">
                  <a16:creationId xmlns:a16="http://schemas.microsoft.com/office/drawing/2014/main" id="{9757CD6B-2104-2640-8103-5BCA362C2759}"/>
                </a:ext>
              </a:extLst>
            </p:cNvPr>
            <p:cNvSpPr/>
            <p:nvPr/>
          </p:nvSpPr>
          <p:spPr>
            <a:xfrm rot="16200000">
              <a:off x="7926768" y="1071297"/>
              <a:ext cx="160293" cy="1842857"/>
            </a:xfrm>
            <a:prstGeom prst="rightBracke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2" name="Right Bracket 61">
              <a:extLst>
                <a:ext uri="{FF2B5EF4-FFF2-40B4-BE49-F238E27FC236}">
                  <a16:creationId xmlns:a16="http://schemas.microsoft.com/office/drawing/2014/main" id="{F8D8B81C-ED2C-9145-A9F6-D8C72E5E090B}"/>
                </a:ext>
              </a:extLst>
            </p:cNvPr>
            <p:cNvSpPr/>
            <p:nvPr/>
          </p:nvSpPr>
          <p:spPr>
            <a:xfrm rot="5400000">
              <a:off x="2476424" y="3246863"/>
              <a:ext cx="160081" cy="2940436"/>
            </a:xfrm>
            <a:prstGeom prst="rightBracke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3" name="Right Bracket 62">
              <a:extLst>
                <a:ext uri="{FF2B5EF4-FFF2-40B4-BE49-F238E27FC236}">
                  <a16:creationId xmlns:a16="http://schemas.microsoft.com/office/drawing/2014/main" id="{6C8899AD-EB22-7745-9AB4-779E8223646D}"/>
                </a:ext>
              </a:extLst>
            </p:cNvPr>
            <p:cNvSpPr/>
            <p:nvPr/>
          </p:nvSpPr>
          <p:spPr>
            <a:xfrm rot="5400000">
              <a:off x="4531029" y="1183534"/>
              <a:ext cx="139992" cy="8745414"/>
            </a:xfrm>
            <a:prstGeom prst="rightBracke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64" name="Picture 63" descr="A picture containing person, building, green, holding&#10;&#10;Description automatically generated">
              <a:extLst>
                <a:ext uri="{FF2B5EF4-FFF2-40B4-BE49-F238E27FC236}">
                  <a16:creationId xmlns:a16="http://schemas.microsoft.com/office/drawing/2014/main" id="{666F4D3E-22A7-F940-B656-8194A4BE4E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3811947" y="2427202"/>
              <a:ext cx="519639" cy="923803"/>
            </a:xfrm>
            <a:prstGeom prst="rect">
              <a:avLst/>
            </a:prstGeom>
          </p:spPr>
        </p:pic>
        <p:pic>
          <p:nvPicPr>
            <p:cNvPr id="66" name="Google Shape;348;p22">
              <a:extLst>
                <a:ext uri="{FF2B5EF4-FFF2-40B4-BE49-F238E27FC236}">
                  <a16:creationId xmlns:a16="http://schemas.microsoft.com/office/drawing/2014/main" id="{B5FE9E0F-92EB-CE47-B530-30A3528BEFA0}"/>
                </a:ext>
              </a:extLst>
            </p:cNvPr>
            <p:cNvPicPr preferRelativeResize="0"/>
            <p:nvPr/>
          </p:nvPicPr>
          <p:blipFill rotWithShape="1">
            <a:blip r:embed="rId20">
              <a:alphaModFix/>
            </a:blip>
            <a:srcRect t="17621" b="17329"/>
            <a:stretch/>
          </p:blipFill>
          <p:spPr>
            <a:xfrm>
              <a:off x="4627006" y="2801008"/>
              <a:ext cx="504000" cy="32783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D921042C-4F43-1E42-B38F-FEFD14C52962}"/>
                </a:ext>
              </a:extLst>
            </p:cNvPr>
            <p:cNvSpPr/>
            <p:nvPr/>
          </p:nvSpPr>
          <p:spPr bwMode="auto">
            <a:xfrm>
              <a:off x="-4442" y="1307746"/>
              <a:ext cx="9144000" cy="4625988"/>
            </a:xfrm>
            <a:prstGeom prst="rect">
              <a:avLst/>
            </a:prstGeom>
            <a:solidFill>
              <a:srgbClr val="F2F2F2">
                <a:alpha val="44706"/>
              </a:srgb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D053F29A-79C5-1145-BF6D-E0AF0730F2D0}"/>
                </a:ext>
              </a:extLst>
            </p:cNvPr>
            <p:cNvSpPr/>
            <p:nvPr/>
          </p:nvSpPr>
          <p:spPr bwMode="auto">
            <a:xfrm>
              <a:off x="5190107" y="2645754"/>
              <a:ext cx="644579" cy="581400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pic>
          <p:nvPicPr>
            <p:cNvPr id="65" name="Google Shape;350;p22">
              <a:extLst>
                <a:ext uri="{FF2B5EF4-FFF2-40B4-BE49-F238E27FC236}">
                  <a16:creationId xmlns:a16="http://schemas.microsoft.com/office/drawing/2014/main" id="{70AD1199-8946-2C43-A399-BF1A5B4684F0}"/>
                </a:ext>
              </a:extLst>
            </p:cNvPr>
            <p:cNvPicPr preferRelativeResize="0"/>
            <p:nvPr/>
          </p:nvPicPr>
          <p:blipFill>
            <a:blip r:embed="rId2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</a:blip>
            <a:stretch>
              <a:fillRect/>
            </a:stretch>
          </p:blipFill>
          <p:spPr>
            <a:xfrm>
              <a:off x="5218153" y="2711859"/>
              <a:ext cx="672279" cy="43863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0" name="Google Shape;330;p22">
              <a:extLst>
                <a:ext uri="{FF2B5EF4-FFF2-40B4-BE49-F238E27FC236}">
                  <a16:creationId xmlns:a16="http://schemas.microsoft.com/office/drawing/2014/main" id="{2D1A5835-F430-154B-B618-EEE92464257C}"/>
                </a:ext>
              </a:extLst>
            </p:cNvPr>
            <p:cNvSpPr txBox="1"/>
            <p:nvPr/>
          </p:nvSpPr>
          <p:spPr>
            <a:xfrm>
              <a:off x="4572000" y="2207439"/>
              <a:ext cx="1327734" cy="3278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68569" rIns="68569" bIns="68569" anchor="t" anchorCtr="0">
              <a:noAutofit/>
            </a:bodyPr>
            <a:lstStyle/>
            <a:p>
              <a:pPr algn="ctr"/>
              <a:r>
                <a:rPr lang="en-US" sz="1050" b="1" dirty="0">
                  <a:latin typeface="Calibri"/>
                  <a:ea typeface="Calibri"/>
                  <a:cs typeface="Calibri"/>
                  <a:sym typeface="Calibri"/>
                </a:rPr>
                <a:t>Students &amp; Assessments update</a:t>
              </a:r>
              <a:endParaRPr sz="1050" b="1" dirty="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Right Bracket 59">
              <a:extLst>
                <a:ext uri="{FF2B5EF4-FFF2-40B4-BE49-F238E27FC236}">
                  <a16:creationId xmlns:a16="http://schemas.microsoft.com/office/drawing/2014/main" id="{92EA8EEE-E13F-074A-98AF-A0E3DAED2342}"/>
                </a:ext>
              </a:extLst>
            </p:cNvPr>
            <p:cNvSpPr/>
            <p:nvPr/>
          </p:nvSpPr>
          <p:spPr>
            <a:xfrm rot="16200000">
              <a:off x="3965103" y="979538"/>
              <a:ext cx="150438" cy="2016523"/>
            </a:xfrm>
            <a:prstGeom prst="rightBracke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42" name="Google Shape;342;p22">
              <a:extLst>
                <a:ext uri="{FF2B5EF4-FFF2-40B4-BE49-F238E27FC236}">
                  <a16:creationId xmlns:a16="http://schemas.microsoft.com/office/drawing/2014/main" id="{7C1A5156-FCA7-EF4B-AEDC-B4F74471EC67}"/>
                </a:ext>
              </a:extLst>
            </p:cNvPr>
            <p:cNvSpPr txBox="1"/>
            <p:nvPr/>
          </p:nvSpPr>
          <p:spPr>
            <a:xfrm>
              <a:off x="3124456" y="1634666"/>
              <a:ext cx="1924128" cy="3278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68569" rIns="68569" bIns="68569" anchor="t" anchorCtr="0">
              <a:noAutofit/>
            </a:bodyPr>
            <a:lstStyle/>
            <a:p>
              <a:pPr algn="ctr"/>
              <a:r>
                <a:rPr lang="en-US" sz="1050" b="1" i="1" dirty="0">
                  <a:solidFill>
                    <a:srgbClr val="C00000"/>
                  </a:solidFill>
                  <a:latin typeface="Calibri"/>
                  <a:ea typeface="Calibri"/>
                  <a:cs typeface="Calibri"/>
                  <a:sym typeface="Calibri"/>
                </a:rPr>
                <a:t>Mobile Application Component</a:t>
              </a:r>
              <a:endParaRPr sz="1050" b="1" i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73722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9A2F0B5-C507-0141-AE3E-8F57646FA1CE}"/>
              </a:ext>
            </a:extLst>
          </p:cNvPr>
          <p:cNvSpPr/>
          <p:nvPr/>
        </p:nvSpPr>
        <p:spPr bwMode="auto">
          <a:xfrm>
            <a:off x="0" y="1145937"/>
            <a:ext cx="9144000" cy="5094514"/>
          </a:xfrm>
          <a:prstGeom prst="rect">
            <a:avLst/>
          </a:prstGeom>
          <a:solidFill>
            <a:schemeClr val="bg2">
              <a:lumMod val="9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9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1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9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A7ECE945-22D0-924A-9862-C9FE70C25A36}"/>
              </a:ext>
            </a:extLst>
          </p:cNvPr>
          <p:cNvSpPr txBox="1">
            <a:spLocks/>
          </p:cNvSpPr>
          <p:nvPr/>
        </p:nvSpPr>
        <p:spPr bwMode="auto">
          <a:xfrm>
            <a:off x="335280" y="196572"/>
            <a:ext cx="869315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273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GB" sz="2000" b="1" kern="1200">
                <a:ln w="1270">
                  <a:noFill/>
                </a:ln>
                <a:solidFill>
                  <a:schemeClr val="tx2"/>
                </a:solidFill>
                <a:latin typeface="+mj-lt"/>
                <a:ea typeface="+mn-ea"/>
                <a:cs typeface="Calibri" pitchFamily="34" charset="0"/>
              </a:defRPr>
            </a:lvl1pPr>
            <a:lvl2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2pPr>
            <a:lvl3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3pPr>
            <a:lvl4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4pPr>
            <a:lvl5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5pPr>
            <a:lvl6pPr marL="46635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6pPr>
            <a:lvl7pPr marL="932704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7pPr>
            <a:lvl8pPr marL="1399058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8pPr>
            <a:lvl9pPr marL="186541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9pPr>
          </a:lstStyle>
          <a:p>
            <a:r>
              <a:rPr lang="en-IN" dirty="0"/>
              <a:t>Open Source components can also be reused to create other products</a:t>
            </a:r>
          </a:p>
          <a:p>
            <a:r>
              <a:rPr lang="en-IN" sz="1800" dirty="0">
                <a:latin typeface="Calibri" panose="020F0502020204030204" pitchFamily="34" charset="0"/>
              </a:rPr>
              <a:t>Type 3 – With existing and new Open Source components and updated wiring</a:t>
            </a:r>
          </a:p>
        </p:txBody>
      </p:sp>
      <p:pic>
        <p:nvPicPr>
          <p:cNvPr id="73" name="Picture 176" descr="Image result for mobile mock up">
            <a:extLst>
              <a:ext uri="{FF2B5EF4-FFF2-40B4-BE49-F238E27FC236}">
                <a16:creationId xmlns:a16="http://schemas.microsoft.com/office/drawing/2014/main" id="{11AED676-7057-E54C-A08F-4C5D0C94D2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43" t="4769" r="27674" b="5018"/>
          <a:stretch/>
        </p:blipFill>
        <p:spPr bwMode="auto">
          <a:xfrm>
            <a:off x="3788913" y="2301645"/>
            <a:ext cx="561452" cy="1133531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4" name="Google Shape;329;p22">
            <a:extLst>
              <a:ext uri="{FF2B5EF4-FFF2-40B4-BE49-F238E27FC236}">
                <a16:creationId xmlns:a16="http://schemas.microsoft.com/office/drawing/2014/main" id="{0B48A245-DEE5-664A-8203-6B7534F858A5}"/>
              </a:ext>
            </a:extLst>
          </p:cNvPr>
          <p:cNvCxnSpPr>
            <a:cxnSpLocks/>
          </p:cNvCxnSpPr>
          <p:nvPr/>
        </p:nvCxnSpPr>
        <p:spPr>
          <a:xfrm>
            <a:off x="2076247" y="2682464"/>
            <a:ext cx="1548000" cy="0"/>
          </a:xfrm>
          <a:prstGeom prst="straightConnector1">
            <a:avLst/>
          </a:prstGeom>
          <a:noFill/>
          <a:ln w="12700" cap="flat" cmpd="sng">
            <a:solidFill>
              <a:srgbClr val="294294"/>
            </a:solidFill>
            <a:prstDash val="solid"/>
            <a:round/>
            <a:headEnd type="triangle" w="med" len="med"/>
            <a:tailEnd type="triangle" w="med" len="med"/>
          </a:ln>
        </p:spPr>
      </p:cxnSp>
      <p:sp>
        <p:nvSpPr>
          <p:cNvPr id="75" name="Google Shape;330;p22">
            <a:extLst>
              <a:ext uri="{FF2B5EF4-FFF2-40B4-BE49-F238E27FC236}">
                <a16:creationId xmlns:a16="http://schemas.microsoft.com/office/drawing/2014/main" id="{A60204BB-B4F6-2243-A84C-A72D9EF89357}"/>
              </a:ext>
            </a:extLst>
          </p:cNvPr>
          <p:cNvSpPr txBox="1"/>
          <p:nvPr/>
        </p:nvSpPr>
        <p:spPr>
          <a:xfrm>
            <a:off x="2219744" y="2387469"/>
            <a:ext cx="1327734" cy="327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t" anchorCtr="0">
            <a:noAutofit/>
          </a:bodyPr>
          <a:lstStyle/>
          <a:p>
            <a:pPr algn="ctr"/>
            <a:r>
              <a:rPr lang="en-US" sz="1050" dirty="0">
                <a:latin typeface="Calibri"/>
                <a:ea typeface="Calibri"/>
                <a:cs typeface="Calibri"/>
                <a:sym typeface="Calibri"/>
              </a:rPr>
              <a:t>User Authentication</a:t>
            </a:r>
            <a:endParaRPr sz="1050" dirty="0"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6" name="Google Shape;334;p22">
            <a:extLst>
              <a:ext uri="{FF2B5EF4-FFF2-40B4-BE49-F238E27FC236}">
                <a16:creationId xmlns:a16="http://schemas.microsoft.com/office/drawing/2014/main" id="{6606D254-2FCC-0E43-93F8-D193D58EC556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2374874" y="2819020"/>
            <a:ext cx="1017475" cy="286727"/>
          </a:xfrm>
          <a:prstGeom prst="rect">
            <a:avLst/>
          </a:prstGeom>
          <a:noFill/>
          <a:ln>
            <a:noFill/>
          </a:ln>
        </p:spPr>
      </p:pic>
      <p:sp>
        <p:nvSpPr>
          <p:cNvPr id="77" name="Google Shape;342;p22">
            <a:extLst>
              <a:ext uri="{FF2B5EF4-FFF2-40B4-BE49-F238E27FC236}">
                <a16:creationId xmlns:a16="http://schemas.microsoft.com/office/drawing/2014/main" id="{0CC7576F-66DF-BD4A-8514-5977F656FD98}"/>
              </a:ext>
            </a:extLst>
          </p:cNvPr>
          <p:cNvSpPr txBox="1"/>
          <p:nvPr/>
        </p:nvSpPr>
        <p:spPr>
          <a:xfrm>
            <a:off x="830851" y="3020349"/>
            <a:ext cx="1327733" cy="483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t" anchorCtr="0">
            <a:noAutofit/>
          </a:bodyPr>
          <a:lstStyle/>
          <a:p>
            <a:pPr algn="ctr"/>
            <a:r>
              <a:rPr lang="en-US" sz="1050" dirty="0">
                <a:latin typeface="Calibri"/>
                <a:ea typeface="Calibri"/>
                <a:cs typeface="Calibri"/>
                <a:sym typeface="Calibri"/>
              </a:rPr>
              <a:t>Admin Management </a:t>
            </a:r>
          </a:p>
          <a:p>
            <a:pPr algn="ctr"/>
            <a:r>
              <a:rPr lang="en-US" sz="1050" dirty="0">
                <a:latin typeface="Calibri"/>
                <a:ea typeface="Calibri"/>
                <a:cs typeface="Calibri"/>
                <a:sym typeface="Calibri"/>
              </a:rPr>
              <a:t>Panel</a:t>
            </a:r>
            <a:endParaRPr sz="1050" dirty="0"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8" name="Google Shape;361;p22" descr="Related image">
            <a:extLst>
              <a:ext uri="{FF2B5EF4-FFF2-40B4-BE49-F238E27FC236}">
                <a16:creationId xmlns:a16="http://schemas.microsoft.com/office/drawing/2014/main" id="{8E40A6DB-6EAE-D945-86EF-2537330645F1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 l="4077" r="4086"/>
          <a:stretch/>
        </p:blipFill>
        <p:spPr>
          <a:xfrm>
            <a:off x="928506" y="2355607"/>
            <a:ext cx="1132425" cy="664742"/>
          </a:xfrm>
          <a:prstGeom prst="rect">
            <a:avLst/>
          </a:prstGeom>
          <a:noFill/>
          <a:ln>
            <a:noFill/>
          </a:ln>
        </p:spPr>
      </p:pic>
      <p:pic>
        <p:nvPicPr>
          <p:cNvPr id="79" name="Google Shape;362;p22">
            <a:extLst>
              <a:ext uri="{FF2B5EF4-FFF2-40B4-BE49-F238E27FC236}">
                <a16:creationId xmlns:a16="http://schemas.microsoft.com/office/drawing/2014/main" id="{4A8211A9-11CD-1449-904B-6E11A54E8157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 t="11707"/>
          <a:stretch/>
        </p:blipFill>
        <p:spPr>
          <a:xfrm>
            <a:off x="7453705" y="2392269"/>
            <a:ext cx="838529" cy="522149"/>
          </a:xfrm>
          <a:prstGeom prst="rect">
            <a:avLst/>
          </a:prstGeom>
          <a:noFill/>
          <a:ln w="9525" cap="flat" cmpd="sng">
            <a:solidFill>
              <a:srgbClr val="5C5C5F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80" name="Google Shape;358;p22" descr="Related image">
            <a:extLst>
              <a:ext uri="{FF2B5EF4-FFF2-40B4-BE49-F238E27FC236}">
                <a16:creationId xmlns:a16="http://schemas.microsoft.com/office/drawing/2014/main" id="{5EB10723-9381-5E44-B47B-339088B9C829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 l="10210" t="4030" r="10202" b="4159"/>
          <a:stretch/>
        </p:blipFill>
        <p:spPr>
          <a:xfrm>
            <a:off x="5625356" y="2377847"/>
            <a:ext cx="504000" cy="581399"/>
          </a:xfrm>
          <a:prstGeom prst="rect">
            <a:avLst/>
          </a:prstGeom>
          <a:noFill/>
          <a:ln>
            <a:noFill/>
          </a:ln>
        </p:spPr>
      </p:pic>
      <p:sp>
        <p:nvSpPr>
          <p:cNvPr id="81" name="Google Shape;330;p22">
            <a:extLst>
              <a:ext uri="{FF2B5EF4-FFF2-40B4-BE49-F238E27FC236}">
                <a16:creationId xmlns:a16="http://schemas.microsoft.com/office/drawing/2014/main" id="{640694EC-EA09-244D-94A7-F9D2AF4ED800}"/>
              </a:ext>
            </a:extLst>
          </p:cNvPr>
          <p:cNvSpPr txBox="1"/>
          <p:nvPr/>
        </p:nvSpPr>
        <p:spPr>
          <a:xfrm>
            <a:off x="5205295" y="2914418"/>
            <a:ext cx="1327734" cy="506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t" anchorCtr="0">
            <a:noAutofit/>
          </a:bodyPr>
          <a:lstStyle/>
          <a:p>
            <a:pPr algn="ctr"/>
            <a:r>
              <a:rPr lang="en-US" sz="1050" dirty="0">
                <a:latin typeface="Calibri"/>
                <a:ea typeface="Calibri"/>
                <a:cs typeface="Calibri"/>
                <a:sym typeface="Calibri"/>
              </a:rPr>
              <a:t>Submission Databases</a:t>
            </a:r>
            <a:endParaRPr sz="1050" dirty="0"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82" name="Google Shape;329;p22">
            <a:extLst>
              <a:ext uri="{FF2B5EF4-FFF2-40B4-BE49-F238E27FC236}">
                <a16:creationId xmlns:a16="http://schemas.microsoft.com/office/drawing/2014/main" id="{2F047401-0746-5A43-AF3D-50946C0A8CD1}"/>
              </a:ext>
            </a:extLst>
          </p:cNvPr>
          <p:cNvCxnSpPr>
            <a:cxnSpLocks/>
          </p:cNvCxnSpPr>
          <p:nvPr/>
        </p:nvCxnSpPr>
        <p:spPr>
          <a:xfrm flipV="1">
            <a:off x="3950767" y="3504026"/>
            <a:ext cx="0" cy="250194"/>
          </a:xfrm>
          <a:prstGeom prst="straightConnector1">
            <a:avLst/>
          </a:prstGeom>
          <a:noFill/>
          <a:ln w="12700" cap="flat" cmpd="sng">
            <a:solidFill>
              <a:srgbClr val="294294"/>
            </a:solidFill>
            <a:prstDash val="solid"/>
            <a:round/>
            <a:headEnd type="none" w="med" len="med"/>
            <a:tailEnd type="triangle" w="med" len="med"/>
          </a:ln>
        </p:spPr>
      </p:cxnSp>
      <p:pic>
        <p:nvPicPr>
          <p:cNvPr id="83" name="Picture 82" descr="A drawing of a cartoon character&#10;&#10;Description automatically generated">
            <a:extLst>
              <a:ext uri="{FF2B5EF4-FFF2-40B4-BE49-F238E27FC236}">
                <a16:creationId xmlns:a16="http://schemas.microsoft.com/office/drawing/2014/main" id="{4792BD11-D97A-904B-B5E4-F8895F945EB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241326" y="3786196"/>
            <a:ext cx="421265" cy="374458"/>
          </a:xfrm>
          <a:prstGeom prst="rect">
            <a:avLst/>
          </a:prstGeom>
        </p:spPr>
      </p:pic>
      <p:pic>
        <p:nvPicPr>
          <p:cNvPr id="84" name="Picture 83" descr="A picture containing bird&#10;&#10;Description automatically generated">
            <a:extLst>
              <a:ext uri="{FF2B5EF4-FFF2-40B4-BE49-F238E27FC236}">
                <a16:creationId xmlns:a16="http://schemas.microsoft.com/office/drawing/2014/main" id="{C4F01835-2443-A046-B006-F0E7FFE6D40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684373" y="3619158"/>
            <a:ext cx="676674" cy="601488"/>
          </a:xfrm>
          <a:prstGeom prst="rect">
            <a:avLst/>
          </a:prstGeom>
        </p:spPr>
      </p:pic>
      <p:sp>
        <p:nvSpPr>
          <p:cNvPr id="85" name="Google Shape;342;p22">
            <a:extLst>
              <a:ext uri="{FF2B5EF4-FFF2-40B4-BE49-F238E27FC236}">
                <a16:creationId xmlns:a16="http://schemas.microsoft.com/office/drawing/2014/main" id="{F5D29A1F-87EF-5D41-81BE-7FFA0F8C5CD1}"/>
              </a:ext>
            </a:extLst>
          </p:cNvPr>
          <p:cNvSpPr txBox="1"/>
          <p:nvPr/>
        </p:nvSpPr>
        <p:spPr>
          <a:xfrm>
            <a:off x="2195122" y="3433715"/>
            <a:ext cx="1278247" cy="3025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t" anchorCtr="0">
            <a:noAutofit/>
          </a:bodyPr>
          <a:lstStyle/>
          <a:p>
            <a:pPr algn="ctr"/>
            <a:r>
              <a:rPr lang="en-US" sz="1050" dirty="0">
                <a:latin typeface="Calibri"/>
                <a:ea typeface="Calibri"/>
                <a:cs typeface="Calibri"/>
                <a:sym typeface="Calibri"/>
              </a:rPr>
              <a:t>Application Logs</a:t>
            </a:r>
          </a:p>
        </p:txBody>
      </p:sp>
      <p:pic>
        <p:nvPicPr>
          <p:cNvPr id="86" name="Google Shape;348;p22">
            <a:extLst>
              <a:ext uri="{FF2B5EF4-FFF2-40B4-BE49-F238E27FC236}">
                <a16:creationId xmlns:a16="http://schemas.microsoft.com/office/drawing/2014/main" id="{EF160AE4-75BA-E446-B026-588F58729E28}"/>
              </a:ext>
            </a:extLst>
          </p:cNvPr>
          <p:cNvPicPr preferRelativeResize="0"/>
          <p:nvPr/>
        </p:nvPicPr>
        <p:blipFill rotWithShape="1">
          <a:blip r:embed="rId14">
            <a:alphaModFix/>
          </a:blip>
          <a:srcRect t="17621" b="17329"/>
          <a:stretch/>
        </p:blipFill>
        <p:spPr>
          <a:xfrm>
            <a:off x="4701295" y="2806122"/>
            <a:ext cx="504000" cy="32783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87" name="Google Shape;329;p22">
            <a:extLst>
              <a:ext uri="{FF2B5EF4-FFF2-40B4-BE49-F238E27FC236}">
                <a16:creationId xmlns:a16="http://schemas.microsoft.com/office/drawing/2014/main" id="{9FEEC0AB-8B25-AD49-B728-09BB8854739A}"/>
              </a:ext>
            </a:extLst>
          </p:cNvPr>
          <p:cNvCxnSpPr>
            <a:cxnSpLocks/>
          </p:cNvCxnSpPr>
          <p:nvPr/>
        </p:nvCxnSpPr>
        <p:spPr>
          <a:xfrm>
            <a:off x="4388162" y="2682464"/>
            <a:ext cx="1224000" cy="0"/>
          </a:xfrm>
          <a:prstGeom prst="straightConnector1">
            <a:avLst/>
          </a:prstGeom>
          <a:noFill/>
          <a:ln w="12700" cap="flat" cmpd="sng">
            <a:solidFill>
              <a:srgbClr val="294294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88" name="Google Shape;330;p22">
            <a:extLst>
              <a:ext uri="{FF2B5EF4-FFF2-40B4-BE49-F238E27FC236}">
                <a16:creationId xmlns:a16="http://schemas.microsoft.com/office/drawing/2014/main" id="{EE82B3A7-7A63-1C41-B0AD-A952E7B4EFA4}"/>
              </a:ext>
            </a:extLst>
          </p:cNvPr>
          <p:cNvSpPr txBox="1"/>
          <p:nvPr/>
        </p:nvSpPr>
        <p:spPr>
          <a:xfrm>
            <a:off x="4289428" y="2363265"/>
            <a:ext cx="1327734" cy="327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t" anchorCtr="0">
            <a:noAutofit/>
          </a:bodyPr>
          <a:lstStyle/>
          <a:p>
            <a:pPr algn="ctr"/>
            <a:r>
              <a:rPr lang="en-US" sz="1050" dirty="0">
                <a:latin typeface="Calibri"/>
                <a:ea typeface="Calibri"/>
                <a:cs typeface="Calibri"/>
                <a:sym typeface="Calibri"/>
              </a:rPr>
              <a:t>Data Submissions</a:t>
            </a:r>
            <a:endParaRPr sz="1050" dirty="0"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89" name="Google Shape;329;p22">
            <a:extLst>
              <a:ext uri="{FF2B5EF4-FFF2-40B4-BE49-F238E27FC236}">
                <a16:creationId xmlns:a16="http://schemas.microsoft.com/office/drawing/2014/main" id="{B7EC6797-1E51-744D-863D-8EA8C813197A}"/>
              </a:ext>
            </a:extLst>
          </p:cNvPr>
          <p:cNvCxnSpPr>
            <a:cxnSpLocks/>
          </p:cNvCxnSpPr>
          <p:nvPr/>
        </p:nvCxnSpPr>
        <p:spPr>
          <a:xfrm>
            <a:off x="6130957" y="2671814"/>
            <a:ext cx="1224000" cy="0"/>
          </a:xfrm>
          <a:prstGeom prst="straightConnector1">
            <a:avLst/>
          </a:prstGeom>
          <a:noFill/>
          <a:ln w="12700" cap="flat" cmpd="sng">
            <a:solidFill>
              <a:srgbClr val="294294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90" name="Google Shape;330;p22">
            <a:extLst>
              <a:ext uri="{FF2B5EF4-FFF2-40B4-BE49-F238E27FC236}">
                <a16:creationId xmlns:a16="http://schemas.microsoft.com/office/drawing/2014/main" id="{65C4DE18-95AB-E747-B726-279CDCF2805C}"/>
              </a:ext>
            </a:extLst>
          </p:cNvPr>
          <p:cNvSpPr txBox="1"/>
          <p:nvPr/>
        </p:nvSpPr>
        <p:spPr>
          <a:xfrm>
            <a:off x="6032223" y="2352615"/>
            <a:ext cx="1327734" cy="327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t" anchorCtr="0">
            <a:noAutofit/>
          </a:bodyPr>
          <a:lstStyle/>
          <a:p>
            <a:pPr algn="ctr"/>
            <a:r>
              <a:rPr lang="en-US" sz="1050" dirty="0">
                <a:latin typeface="Calibri"/>
                <a:ea typeface="Calibri"/>
                <a:cs typeface="Calibri"/>
                <a:sym typeface="Calibri"/>
              </a:rPr>
              <a:t>Data Preparation</a:t>
            </a:r>
            <a:endParaRPr sz="1050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" name="Google Shape;342;p22">
            <a:extLst>
              <a:ext uri="{FF2B5EF4-FFF2-40B4-BE49-F238E27FC236}">
                <a16:creationId xmlns:a16="http://schemas.microsoft.com/office/drawing/2014/main" id="{E3669BF9-B93D-7249-BB9C-355700AC2E58}"/>
              </a:ext>
            </a:extLst>
          </p:cNvPr>
          <p:cNvSpPr txBox="1"/>
          <p:nvPr/>
        </p:nvSpPr>
        <p:spPr>
          <a:xfrm>
            <a:off x="7120412" y="2963868"/>
            <a:ext cx="1505116" cy="483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t" anchorCtr="0">
            <a:noAutofit/>
          </a:bodyPr>
          <a:lstStyle/>
          <a:p>
            <a:pPr algn="ctr"/>
            <a:r>
              <a:rPr lang="en-US" sz="1050" dirty="0">
                <a:latin typeface="Calibri"/>
                <a:ea typeface="Calibri"/>
                <a:cs typeface="Calibri"/>
                <a:sym typeface="Calibri"/>
              </a:rPr>
              <a:t>Visualization </a:t>
            </a:r>
          </a:p>
          <a:p>
            <a:pPr algn="ctr"/>
            <a:r>
              <a:rPr lang="en-US" sz="1050" dirty="0">
                <a:latin typeface="Calibri"/>
                <a:ea typeface="Calibri"/>
                <a:cs typeface="Calibri"/>
                <a:sym typeface="Calibri"/>
              </a:rPr>
              <a:t>Portal</a:t>
            </a:r>
            <a:endParaRPr sz="1050" dirty="0"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2" name="Google Shape;361;p22" descr="Related image">
            <a:extLst>
              <a:ext uri="{FF2B5EF4-FFF2-40B4-BE49-F238E27FC236}">
                <a16:creationId xmlns:a16="http://schemas.microsoft.com/office/drawing/2014/main" id="{7D8A4AD2-31DB-9E42-A5CA-3A167244A63F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 l="4077" r="4086"/>
          <a:stretch/>
        </p:blipFill>
        <p:spPr>
          <a:xfrm>
            <a:off x="7308427" y="2343982"/>
            <a:ext cx="1132425" cy="664742"/>
          </a:xfrm>
          <a:prstGeom prst="rect">
            <a:avLst/>
          </a:prstGeom>
          <a:noFill/>
          <a:ln>
            <a:noFill/>
          </a:ln>
        </p:spPr>
      </p:pic>
      <p:pic>
        <p:nvPicPr>
          <p:cNvPr id="93" name="Picture 92" descr="A close up of a logo&#10;&#10;Description automatically generated">
            <a:extLst>
              <a:ext uri="{FF2B5EF4-FFF2-40B4-BE49-F238E27FC236}">
                <a16:creationId xmlns:a16="http://schemas.microsoft.com/office/drawing/2014/main" id="{970C6556-8443-B24F-9C38-4966C9664BA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486997" y="2752125"/>
            <a:ext cx="463788" cy="412256"/>
          </a:xfrm>
          <a:prstGeom prst="rect">
            <a:avLst/>
          </a:prstGeom>
        </p:spPr>
      </p:pic>
      <p:sp>
        <p:nvSpPr>
          <p:cNvPr id="94" name="Google Shape;342;p22">
            <a:extLst>
              <a:ext uri="{FF2B5EF4-FFF2-40B4-BE49-F238E27FC236}">
                <a16:creationId xmlns:a16="http://schemas.microsoft.com/office/drawing/2014/main" id="{E8671A8D-B306-BC40-A3D7-2BFB45CE02B6}"/>
              </a:ext>
            </a:extLst>
          </p:cNvPr>
          <p:cNvSpPr txBox="1"/>
          <p:nvPr/>
        </p:nvSpPr>
        <p:spPr>
          <a:xfrm>
            <a:off x="206496" y="1622347"/>
            <a:ext cx="2551981" cy="3278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t" anchorCtr="0">
            <a:noAutofit/>
          </a:bodyPr>
          <a:lstStyle/>
          <a:p>
            <a:pPr algn="ctr"/>
            <a:r>
              <a:rPr lang="en-US" sz="1050" i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Application Control Component</a:t>
            </a:r>
            <a:endParaRPr sz="1050" i="1" dirty="0">
              <a:solidFill>
                <a:srgbClr val="C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95" name="Google Shape;329;p22">
            <a:extLst>
              <a:ext uri="{FF2B5EF4-FFF2-40B4-BE49-F238E27FC236}">
                <a16:creationId xmlns:a16="http://schemas.microsoft.com/office/drawing/2014/main" id="{61E212D5-5688-EC4D-BE28-DA185DE7BCFB}"/>
              </a:ext>
            </a:extLst>
          </p:cNvPr>
          <p:cNvCxnSpPr>
            <a:cxnSpLocks/>
          </p:cNvCxnSpPr>
          <p:nvPr/>
        </p:nvCxnSpPr>
        <p:spPr>
          <a:xfrm>
            <a:off x="493819" y="2706150"/>
            <a:ext cx="2091" cy="458231"/>
          </a:xfrm>
          <a:prstGeom prst="straightConnector1">
            <a:avLst/>
          </a:prstGeom>
          <a:noFill/>
          <a:ln w="12700" cap="flat" cmpd="sng">
            <a:solidFill>
              <a:srgbClr val="294294"/>
            </a:solidFill>
            <a:prstDash val="solid"/>
            <a:round/>
            <a:headEnd type="none" w="med" len="med"/>
            <a:tailEnd type="triangle" w="med" len="med"/>
          </a:ln>
        </p:spPr>
      </p:cxnSp>
      <p:pic>
        <p:nvPicPr>
          <p:cNvPr id="96" name="Google Shape;358;p22" descr="Related image">
            <a:extLst>
              <a:ext uri="{FF2B5EF4-FFF2-40B4-BE49-F238E27FC236}">
                <a16:creationId xmlns:a16="http://schemas.microsoft.com/office/drawing/2014/main" id="{A4054404-1B93-844E-ACD5-BC493BA0A66B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 l="10210" t="4030" r="10202" b="4159"/>
          <a:stretch/>
        </p:blipFill>
        <p:spPr>
          <a:xfrm>
            <a:off x="260715" y="3242465"/>
            <a:ext cx="504000" cy="581399"/>
          </a:xfrm>
          <a:prstGeom prst="rect">
            <a:avLst/>
          </a:prstGeom>
          <a:noFill/>
          <a:ln>
            <a:noFill/>
          </a:ln>
        </p:spPr>
      </p:pic>
      <p:sp>
        <p:nvSpPr>
          <p:cNvPr id="97" name="Google Shape;330;p22">
            <a:extLst>
              <a:ext uri="{FF2B5EF4-FFF2-40B4-BE49-F238E27FC236}">
                <a16:creationId xmlns:a16="http://schemas.microsoft.com/office/drawing/2014/main" id="{59485096-9EA1-814A-BB3D-2C1909353116}"/>
              </a:ext>
            </a:extLst>
          </p:cNvPr>
          <p:cNvSpPr txBox="1"/>
          <p:nvPr/>
        </p:nvSpPr>
        <p:spPr>
          <a:xfrm>
            <a:off x="-151152" y="3785781"/>
            <a:ext cx="1327734" cy="506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t" anchorCtr="0">
            <a:noAutofit/>
          </a:bodyPr>
          <a:lstStyle/>
          <a:p>
            <a:pPr algn="ctr"/>
            <a:r>
              <a:rPr lang="en-US" sz="1050" dirty="0">
                <a:latin typeface="Calibri"/>
                <a:ea typeface="Calibri"/>
                <a:cs typeface="Calibri"/>
                <a:sym typeface="Calibri"/>
              </a:rPr>
              <a:t>Department Databases</a:t>
            </a:r>
            <a:endParaRPr sz="1050" dirty="0"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98" name="Google Shape;329;p22">
            <a:extLst>
              <a:ext uri="{FF2B5EF4-FFF2-40B4-BE49-F238E27FC236}">
                <a16:creationId xmlns:a16="http://schemas.microsoft.com/office/drawing/2014/main" id="{ED9ED4AA-B9A7-F644-8052-2ED592FBF137}"/>
              </a:ext>
            </a:extLst>
          </p:cNvPr>
          <p:cNvCxnSpPr>
            <a:cxnSpLocks/>
          </p:cNvCxnSpPr>
          <p:nvPr/>
        </p:nvCxnSpPr>
        <p:spPr>
          <a:xfrm flipV="1">
            <a:off x="1811643" y="3470968"/>
            <a:ext cx="0" cy="274907"/>
          </a:xfrm>
          <a:prstGeom prst="straightConnector1">
            <a:avLst/>
          </a:prstGeom>
          <a:noFill/>
          <a:ln w="12700" cap="flat" cmpd="sng">
            <a:solidFill>
              <a:srgbClr val="294294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99" name="Google Shape;329;p22">
            <a:extLst>
              <a:ext uri="{FF2B5EF4-FFF2-40B4-BE49-F238E27FC236}">
                <a16:creationId xmlns:a16="http://schemas.microsoft.com/office/drawing/2014/main" id="{CCA92DD2-76CB-8C42-AADF-5FA68681359C}"/>
              </a:ext>
            </a:extLst>
          </p:cNvPr>
          <p:cNvCxnSpPr>
            <a:cxnSpLocks/>
          </p:cNvCxnSpPr>
          <p:nvPr/>
        </p:nvCxnSpPr>
        <p:spPr>
          <a:xfrm flipH="1">
            <a:off x="1811643" y="3754220"/>
            <a:ext cx="2139124" cy="0"/>
          </a:xfrm>
          <a:prstGeom prst="straightConnector1">
            <a:avLst/>
          </a:prstGeom>
          <a:noFill/>
          <a:ln w="12700" cap="flat" cmpd="sng">
            <a:solidFill>
              <a:srgbClr val="294294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0" name="Google Shape;342;p22">
            <a:extLst>
              <a:ext uri="{FF2B5EF4-FFF2-40B4-BE49-F238E27FC236}">
                <a16:creationId xmlns:a16="http://schemas.microsoft.com/office/drawing/2014/main" id="{3B7D36D7-C048-E640-B72A-9D2F0B2B5E77}"/>
              </a:ext>
            </a:extLst>
          </p:cNvPr>
          <p:cNvSpPr txBox="1"/>
          <p:nvPr/>
        </p:nvSpPr>
        <p:spPr>
          <a:xfrm>
            <a:off x="3121563" y="1622347"/>
            <a:ext cx="1831732" cy="3278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t" anchorCtr="0">
            <a:noAutofit/>
          </a:bodyPr>
          <a:lstStyle/>
          <a:p>
            <a:pPr algn="ctr"/>
            <a:r>
              <a:rPr lang="en-US" sz="1050" i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Mobile Application Component</a:t>
            </a:r>
            <a:endParaRPr sz="1050" i="1" dirty="0">
              <a:solidFill>
                <a:srgbClr val="C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1" name="Google Shape;342;p22">
            <a:extLst>
              <a:ext uri="{FF2B5EF4-FFF2-40B4-BE49-F238E27FC236}">
                <a16:creationId xmlns:a16="http://schemas.microsoft.com/office/drawing/2014/main" id="{F0121CDE-B34E-DF4F-8201-940511221D3A}"/>
              </a:ext>
            </a:extLst>
          </p:cNvPr>
          <p:cNvSpPr txBox="1"/>
          <p:nvPr/>
        </p:nvSpPr>
        <p:spPr>
          <a:xfrm>
            <a:off x="6761214" y="1622347"/>
            <a:ext cx="2136850" cy="3278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t" anchorCtr="0">
            <a:noAutofit/>
          </a:bodyPr>
          <a:lstStyle/>
          <a:p>
            <a:pPr algn="ctr"/>
            <a:r>
              <a:rPr lang="en-US" sz="1050" i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Data Analytics Component</a:t>
            </a:r>
            <a:endParaRPr sz="1050" i="1" dirty="0">
              <a:solidFill>
                <a:srgbClr val="C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4" name="Google Shape;341;p22">
            <a:extLst>
              <a:ext uri="{FF2B5EF4-FFF2-40B4-BE49-F238E27FC236}">
                <a16:creationId xmlns:a16="http://schemas.microsoft.com/office/drawing/2014/main" id="{D22E8AC0-2295-8E41-A958-5F991394F2DF}"/>
              </a:ext>
            </a:extLst>
          </p:cNvPr>
          <p:cNvPicPr preferRelativeResize="0"/>
          <p:nvPr/>
        </p:nvPicPr>
        <p:blipFill>
          <a:blip r:embed="rId16">
            <a:alphaModFix/>
          </a:blip>
          <a:stretch>
            <a:fillRect/>
          </a:stretch>
        </p:blipFill>
        <p:spPr>
          <a:xfrm>
            <a:off x="1083355" y="2408227"/>
            <a:ext cx="808216" cy="48394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" name="Google Shape;329;p22">
            <a:extLst>
              <a:ext uri="{FF2B5EF4-FFF2-40B4-BE49-F238E27FC236}">
                <a16:creationId xmlns:a16="http://schemas.microsoft.com/office/drawing/2014/main" id="{B7822FDF-8FC2-584F-BC94-28625C134E8E}"/>
              </a:ext>
            </a:extLst>
          </p:cNvPr>
          <p:cNvCxnSpPr>
            <a:cxnSpLocks/>
            <a:stCxn id="78" idx="1"/>
          </p:cNvCxnSpPr>
          <p:nvPr/>
        </p:nvCxnSpPr>
        <p:spPr>
          <a:xfrm flipH="1">
            <a:off x="495910" y="2687978"/>
            <a:ext cx="432596" cy="3112"/>
          </a:xfrm>
          <a:prstGeom prst="straightConnector1">
            <a:avLst/>
          </a:prstGeom>
          <a:noFill/>
          <a:ln w="12700" cap="flat" cmpd="sng">
            <a:solidFill>
              <a:srgbClr val="294294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106" name="Picture 105" descr="A picture containing drawing, table&#10;&#10;Description automatically generated">
            <a:extLst>
              <a:ext uri="{FF2B5EF4-FFF2-40B4-BE49-F238E27FC236}">
                <a16:creationId xmlns:a16="http://schemas.microsoft.com/office/drawing/2014/main" id="{F8ED89DB-36FA-E340-A51F-043EA84B1CA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567328" y="5078205"/>
            <a:ext cx="606910" cy="539475"/>
          </a:xfrm>
          <a:prstGeom prst="rect">
            <a:avLst/>
          </a:prstGeom>
        </p:spPr>
      </p:pic>
      <p:pic>
        <p:nvPicPr>
          <p:cNvPr id="107" name="Picture 106" descr="A picture containing food, light&#10;&#10;Description automatically generated">
            <a:extLst>
              <a:ext uri="{FF2B5EF4-FFF2-40B4-BE49-F238E27FC236}">
                <a16:creationId xmlns:a16="http://schemas.microsoft.com/office/drawing/2014/main" id="{C1F1B888-737D-F34F-AB54-82F1B6D2CDE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298410" y="5098916"/>
            <a:ext cx="485010" cy="431119"/>
          </a:xfrm>
          <a:prstGeom prst="rect">
            <a:avLst/>
          </a:prstGeom>
        </p:spPr>
      </p:pic>
      <p:pic>
        <p:nvPicPr>
          <p:cNvPr id="108" name="Picture 107" descr="A picture containing table&#10;&#10;Description automatically generated">
            <a:extLst>
              <a:ext uri="{FF2B5EF4-FFF2-40B4-BE49-F238E27FC236}">
                <a16:creationId xmlns:a16="http://schemas.microsoft.com/office/drawing/2014/main" id="{F0141D2B-CFA0-EF48-8FB8-EA16F8A08C8A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862794" y="5033462"/>
            <a:ext cx="729703" cy="648624"/>
          </a:xfrm>
          <a:prstGeom prst="rect">
            <a:avLst/>
          </a:prstGeom>
        </p:spPr>
      </p:pic>
      <p:sp>
        <p:nvSpPr>
          <p:cNvPr id="112" name="Google Shape;342;p22">
            <a:extLst>
              <a:ext uri="{FF2B5EF4-FFF2-40B4-BE49-F238E27FC236}">
                <a16:creationId xmlns:a16="http://schemas.microsoft.com/office/drawing/2014/main" id="{02442734-668A-024E-AC4B-5A11134358FE}"/>
              </a:ext>
            </a:extLst>
          </p:cNvPr>
          <p:cNvSpPr txBox="1"/>
          <p:nvPr/>
        </p:nvSpPr>
        <p:spPr>
          <a:xfrm>
            <a:off x="1218803" y="4780029"/>
            <a:ext cx="2669537" cy="3278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t" anchorCtr="0">
            <a:noAutofit/>
          </a:bodyPr>
          <a:lstStyle/>
          <a:p>
            <a:pPr algn="ctr"/>
            <a:r>
              <a:rPr lang="en-US" sz="1050" i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Application Logging Component</a:t>
            </a:r>
            <a:endParaRPr sz="1050" i="1" dirty="0">
              <a:solidFill>
                <a:srgbClr val="C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3" name="Google Shape;358;p22" descr="Related image">
            <a:extLst>
              <a:ext uri="{FF2B5EF4-FFF2-40B4-BE49-F238E27FC236}">
                <a16:creationId xmlns:a16="http://schemas.microsoft.com/office/drawing/2014/main" id="{2D3EF359-2C49-AD48-8B5C-3856190546C5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 l="10210" t="4030" r="10202" b="4159"/>
          <a:stretch/>
        </p:blipFill>
        <p:spPr>
          <a:xfrm>
            <a:off x="5430543" y="3717612"/>
            <a:ext cx="313685" cy="327837"/>
          </a:xfrm>
          <a:prstGeom prst="rect">
            <a:avLst/>
          </a:prstGeom>
          <a:noFill/>
          <a:ln>
            <a:noFill/>
          </a:ln>
        </p:spPr>
      </p:pic>
      <p:sp>
        <p:nvSpPr>
          <p:cNvPr id="114" name="Google Shape;330;p22">
            <a:extLst>
              <a:ext uri="{FF2B5EF4-FFF2-40B4-BE49-F238E27FC236}">
                <a16:creationId xmlns:a16="http://schemas.microsoft.com/office/drawing/2014/main" id="{7DBE1BC9-2F5B-2D4D-956C-DAEBB1EF6DFD}"/>
              </a:ext>
            </a:extLst>
          </p:cNvPr>
          <p:cNvSpPr txBox="1"/>
          <p:nvPr/>
        </p:nvSpPr>
        <p:spPr>
          <a:xfrm>
            <a:off x="5090899" y="3990884"/>
            <a:ext cx="1591200" cy="2668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t" anchorCtr="0">
            <a:noAutofit/>
          </a:bodyPr>
          <a:lstStyle/>
          <a:p>
            <a:pPr algn="ctr"/>
            <a:r>
              <a:rPr lang="en-US" sz="1050" dirty="0">
                <a:latin typeface="Calibri"/>
                <a:ea typeface="Calibri"/>
                <a:cs typeface="Calibri"/>
                <a:sym typeface="Calibri"/>
              </a:rPr>
              <a:t>Additional App Databases</a:t>
            </a:r>
            <a:endParaRPr sz="1050" dirty="0"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5" name="Google Shape;358;p22" descr="Related image">
            <a:extLst>
              <a:ext uri="{FF2B5EF4-FFF2-40B4-BE49-F238E27FC236}">
                <a16:creationId xmlns:a16="http://schemas.microsoft.com/office/drawing/2014/main" id="{704B584C-E95A-284C-9EB6-C2AE041D80E6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 l="10210" t="4030" r="10202" b="4159"/>
          <a:stretch/>
        </p:blipFill>
        <p:spPr>
          <a:xfrm>
            <a:off x="5729657" y="3719912"/>
            <a:ext cx="313685" cy="327837"/>
          </a:xfrm>
          <a:prstGeom prst="rect">
            <a:avLst/>
          </a:prstGeom>
          <a:noFill/>
          <a:ln>
            <a:noFill/>
          </a:ln>
        </p:spPr>
      </p:pic>
      <p:pic>
        <p:nvPicPr>
          <p:cNvPr id="116" name="Google Shape;358;p22" descr="Related image">
            <a:extLst>
              <a:ext uri="{FF2B5EF4-FFF2-40B4-BE49-F238E27FC236}">
                <a16:creationId xmlns:a16="http://schemas.microsoft.com/office/drawing/2014/main" id="{FC14CCF7-4D9A-834D-A43A-9803DEEAC2B3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 l="10210" t="4030" r="10202" b="4159"/>
          <a:stretch/>
        </p:blipFill>
        <p:spPr>
          <a:xfrm>
            <a:off x="6073384" y="3719912"/>
            <a:ext cx="313685" cy="32783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17" name="Google Shape;329;p22">
            <a:extLst>
              <a:ext uri="{FF2B5EF4-FFF2-40B4-BE49-F238E27FC236}">
                <a16:creationId xmlns:a16="http://schemas.microsoft.com/office/drawing/2014/main" id="{7D5B001D-12EC-BE44-A74A-A8C24AAC4E9D}"/>
              </a:ext>
            </a:extLst>
          </p:cNvPr>
          <p:cNvCxnSpPr>
            <a:cxnSpLocks/>
          </p:cNvCxnSpPr>
          <p:nvPr/>
        </p:nvCxnSpPr>
        <p:spPr>
          <a:xfrm flipH="1" flipV="1">
            <a:off x="1473280" y="3645987"/>
            <a:ext cx="9207" cy="904728"/>
          </a:xfrm>
          <a:prstGeom prst="straightConnector1">
            <a:avLst/>
          </a:prstGeom>
          <a:noFill/>
          <a:ln w="12700" cap="flat" cmpd="sng">
            <a:solidFill>
              <a:srgbClr val="294294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118" name="Google Shape;329;p22">
            <a:extLst>
              <a:ext uri="{FF2B5EF4-FFF2-40B4-BE49-F238E27FC236}">
                <a16:creationId xmlns:a16="http://schemas.microsoft.com/office/drawing/2014/main" id="{D75E17C9-37C9-834F-A705-098362D3870D}"/>
              </a:ext>
            </a:extLst>
          </p:cNvPr>
          <p:cNvCxnSpPr>
            <a:cxnSpLocks/>
          </p:cNvCxnSpPr>
          <p:nvPr/>
        </p:nvCxnSpPr>
        <p:spPr>
          <a:xfrm flipH="1">
            <a:off x="1486007" y="4547895"/>
            <a:ext cx="4391348" cy="0"/>
          </a:xfrm>
          <a:prstGeom prst="straightConnector1">
            <a:avLst/>
          </a:prstGeom>
          <a:noFill/>
          <a:ln w="12700" cap="flat" cmpd="sng">
            <a:solidFill>
              <a:srgbClr val="294294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19" name="Google Shape;329;p22">
            <a:extLst>
              <a:ext uri="{FF2B5EF4-FFF2-40B4-BE49-F238E27FC236}">
                <a16:creationId xmlns:a16="http://schemas.microsoft.com/office/drawing/2014/main" id="{D3C2E07D-74D5-EF4D-961E-F4613AA4A477}"/>
              </a:ext>
            </a:extLst>
          </p:cNvPr>
          <p:cNvCxnSpPr>
            <a:cxnSpLocks/>
          </p:cNvCxnSpPr>
          <p:nvPr/>
        </p:nvCxnSpPr>
        <p:spPr>
          <a:xfrm flipV="1">
            <a:off x="5877355" y="4292203"/>
            <a:ext cx="0" cy="255692"/>
          </a:xfrm>
          <a:prstGeom prst="straightConnector1">
            <a:avLst/>
          </a:prstGeom>
          <a:noFill/>
          <a:ln w="12700" cap="flat" cmpd="sng">
            <a:solidFill>
              <a:srgbClr val="294294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120" name="Google Shape;329;p22">
            <a:extLst>
              <a:ext uri="{FF2B5EF4-FFF2-40B4-BE49-F238E27FC236}">
                <a16:creationId xmlns:a16="http://schemas.microsoft.com/office/drawing/2014/main" id="{B33CA830-A349-8346-8FC1-3C38FE25205E}"/>
              </a:ext>
            </a:extLst>
          </p:cNvPr>
          <p:cNvCxnSpPr>
            <a:cxnSpLocks/>
          </p:cNvCxnSpPr>
          <p:nvPr/>
        </p:nvCxnSpPr>
        <p:spPr>
          <a:xfrm flipV="1">
            <a:off x="5877356" y="3297329"/>
            <a:ext cx="0" cy="340287"/>
          </a:xfrm>
          <a:prstGeom prst="straightConnector1">
            <a:avLst/>
          </a:prstGeom>
          <a:noFill/>
          <a:ln w="12700" cap="flat" cmpd="sng">
            <a:solidFill>
              <a:srgbClr val="294294"/>
            </a:solidFill>
            <a:prstDash val="solid"/>
            <a:round/>
            <a:headEnd type="triangle" w="med" len="med"/>
            <a:tailEnd type="triangle" w="med" len="med"/>
          </a:ln>
        </p:spPr>
      </p:cxnSp>
      <p:sp>
        <p:nvSpPr>
          <p:cNvPr id="121" name="Right Bracket 120">
            <a:extLst>
              <a:ext uri="{FF2B5EF4-FFF2-40B4-BE49-F238E27FC236}">
                <a16:creationId xmlns:a16="http://schemas.microsoft.com/office/drawing/2014/main" id="{A021D1E5-F8A5-E645-9B55-F4B07B1DD802}"/>
              </a:ext>
            </a:extLst>
          </p:cNvPr>
          <p:cNvSpPr/>
          <p:nvPr/>
        </p:nvSpPr>
        <p:spPr>
          <a:xfrm rot="16200000">
            <a:off x="1411264" y="822350"/>
            <a:ext cx="142444" cy="2306261"/>
          </a:xfrm>
          <a:prstGeom prst="rightBracke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2" name="Right Bracket 121">
            <a:extLst>
              <a:ext uri="{FF2B5EF4-FFF2-40B4-BE49-F238E27FC236}">
                <a16:creationId xmlns:a16="http://schemas.microsoft.com/office/drawing/2014/main" id="{7BBF2A2E-FB50-DD41-B8F3-5EB57FE6B3B9}"/>
              </a:ext>
            </a:extLst>
          </p:cNvPr>
          <p:cNvSpPr/>
          <p:nvPr/>
        </p:nvSpPr>
        <p:spPr>
          <a:xfrm rot="16200000">
            <a:off x="3962210" y="967219"/>
            <a:ext cx="150438" cy="2016523"/>
          </a:xfrm>
          <a:prstGeom prst="rightBracke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3" name="Right Bracket 122">
            <a:extLst>
              <a:ext uri="{FF2B5EF4-FFF2-40B4-BE49-F238E27FC236}">
                <a16:creationId xmlns:a16="http://schemas.microsoft.com/office/drawing/2014/main" id="{2CEE1A30-835E-5543-B5CD-392D545064F7}"/>
              </a:ext>
            </a:extLst>
          </p:cNvPr>
          <p:cNvSpPr/>
          <p:nvPr/>
        </p:nvSpPr>
        <p:spPr>
          <a:xfrm rot="16200000">
            <a:off x="7754420" y="967219"/>
            <a:ext cx="150438" cy="2016523"/>
          </a:xfrm>
          <a:prstGeom prst="rightBracke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4" name="Right Bracket 123">
            <a:extLst>
              <a:ext uri="{FF2B5EF4-FFF2-40B4-BE49-F238E27FC236}">
                <a16:creationId xmlns:a16="http://schemas.microsoft.com/office/drawing/2014/main" id="{6F843C10-892D-7044-A714-5A96647F847E}"/>
              </a:ext>
            </a:extLst>
          </p:cNvPr>
          <p:cNvSpPr/>
          <p:nvPr/>
        </p:nvSpPr>
        <p:spPr>
          <a:xfrm rot="5400000">
            <a:off x="2473531" y="3234544"/>
            <a:ext cx="160081" cy="2940436"/>
          </a:xfrm>
          <a:prstGeom prst="rightBracke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5" name="Right Bracket 124">
            <a:extLst>
              <a:ext uri="{FF2B5EF4-FFF2-40B4-BE49-F238E27FC236}">
                <a16:creationId xmlns:a16="http://schemas.microsoft.com/office/drawing/2014/main" id="{495E1AA3-6103-1840-AD94-725E252AF9C5}"/>
              </a:ext>
            </a:extLst>
          </p:cNvPr>
          <p:cNvSpPr/>
          <p:nvPr/>
        </p:nvSpPr>
        <p:spPr>
          <a:xfrm rot="5400000">
            <a:off x="4528136" y="1171215"/>
            <a:ext cx="139992" cy="8745414"/>
          </a:xfrm>
          <a:prstGeom prst="rightBracke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9" name="Google Shape;330;p22">
            <a:extLst>
              <a:ext uri="{FF2B5EF4-FFF2-40B4-BE49-F238E27FC236}">
                <a16:creationId xmlns:a16="http://schemas.microsoft.com/office/drawing/2014/main" id="{FD73F034-3C1F-4742-A274-C3D82245BE8D}"/>
              </a:ext>
            </a:extLst>
          </p:cNvPr>
          <p:cNvSpPr txBox="1"/>
          <p:nvPr/>
        </p:nvSpPr>
        <p:spPr>
          <a:xfrm>
            <a:off x="7187724" y="4117535"/>
            <a:ext cx="802135" cy="2668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t" anchorCtr="0">
            <a:noAutofit/>
          </a:bodyPr>
          <a:lstStyle/>
          <a:p>
            <a:pPr algn="ctr"/>
            <a:r>
              <a:rPr lang="en-US" sz="1050" dirty="0">
                <a:latin typeface="Calibri"/>
                <a:ea typeface="Calibri"/>
                <a:cs typeface="Calibri"/>
                <a:sym typeface="Calibri"/>
              </a:rPr>
              <a:t>SMS Gateway</a:t>
            </a:r>
            <a:endParaRPr sz="1050" dirty="0"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3AF5447D-712E-7F49-8F1B-CF60B5B2E33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7410" y="2421527"/>
            <a:ext cx="522000" cy="928000"/>
          </a:xfrm>
          <a:prstGeom prst="rect">
            <a:avLst/>
          </a:prstGeom>
        </p:spPr>
      </p:pic>
      <p:sp>
        <p:nvSpPr>
          <p:cNvPr id="134" name="Rectangle 133">
            <a:extLst>
              <a:ext uri="{FF2B5EF4-FFF2-40B4-BE49-F238E27FC236}">
                <a16:creationId xmlns:a16="http://schemas.microsoft.com/office/drawing/2014/main" id="{6476B20A-EAAF-F145-B70D-475AB4A487A1}"/>
              </a:ext>
            </a:extLst>
          </p:cNvPr>
          <p:cNvSpPr/>
          <p:nvPr/>
        </p:nvSpPr>
        <p:spPr bwMode="auto">
          <a:xfrm>
            <a:off x="0" y="1390907"/>
            <a:ext cx="9144000" cy="4682780"/>
          </a:xfrm>
          <a:prstGeom prst="rect">
            <a:avLst/>
          </a:prstGeom>
          <a:solidFill>
            <a:srgbClr val="F2F2F2">
              <a:alpha val="71765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21755" y="566139"/>
            <a:ext cx="8793595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Unit of measur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1FA13F2-1658-3B4D-A19A-0D3DAFE2989F}"/>
              </a:ext>
            </a:extLst>
          </p:cNvPr>
          <p:cNvGrpSpPr/>
          <p:nvPr/>
        </p:nvGrpSpPr>
        <p:grpSpPr>
          <a:xfrm>
            <a:off x="4150062" y="3499642"/>
            <a:ext cx="4945417" cy="1654459"/>
            <a:chOff x="4150062" y="3499642"/>
            <a:chExt cx="4945417" cy="1654459"/>
          </a:xfrm>
        </p:grpSpPr>
        <p:sp>
          <p:nvSpPr>
            <p:cNvPr id="103" name="Google Shape;342;p22">
              <a:extLst>
                <a:ext uri="{FF2B5EF4-FFF2-40B4-BE49-F238E27FC236}">
                  <a16:creationId xmlns:a16="http://schemas.microsoft.com/office/drawing/2014/main" id="{A09F3E35-A551-F347-A777-6CE2B9360E87}"/>
                </a:ext>
              </a:extLst>
            </p:cNvPr>
            <p:cNvSpPr txBox="1"/>
            <p:nvPr/>
          </p:nvSpPr>
          <p:spPr>
            <a:xfrm>
              <a:off x="6197472" y="4867721"/>
              <a:ext cx="2799352" cy="2863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68569" rIns="68569" bIns="68569" anchor="t" anchorCtr="0">
              <a:noAutofit/>
            </a:bodyPr>
            <a:lstStyle/>
            <a:p>
              <a:pPr algn="ctr"/>
              <a:r>
                <a:rPr lang="en-US" sz="1050" i="1" dirty="0">
                  <a:solidFill>
                    <a:srgbClr val="C00000"/>
                  </a:solidFill>
                  <a:latin typeface="Calibri"/>
                  <a:ea typeface="Calibri"/>
                  <a:cs typeface="Calibri"/>
                  <a:sym typeface="Calibri"/>
                </a:rPr>
                <a:t>Communication &amp; Alerts Component</a:t>
              </a:r>
              <a:endParaRPr sz="1050" i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09" name="Google Shape;329;p22">
              <a:extLst>
                <a:ext uri="{FF2B5EF4-FFF2-40B4-BE49-F238E27FC236}">
                  <a16:creationId xmlns:a16="http://schemas.microsoft.com/office/drawing/2014/main" id="{FFCB8A30-690E-3A44-ADA9-EFE27A051A3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164451" y="3919902"/>
              <a:ext cx="1172304" cy="0"/>
            </a:xfrm>
            <a:prstGeom prst="straightConnector1">
              <a:avLst/>
            </a:prstGeom>
            <a:noFill/>
            <a:ln w="12700" cap="flat" cmpd="sng">
              <a:solidFill>
                <a:srgbClr val="294294"/>
              </a:solidFill>
              <a:prstDash val="solid"/>
              <a:round/>
              <a:headEnd type="triangle" w="med" len="med"/>
              <a:tailEnd type="none" w="med" len="med"/>
            </a:ln>
          </p:spPr>
        </p:cxnSp>
        <p:cxnSp>
          <p:nvCxnSpPr>
            <p:cNvPr id="110" name="Google Shape;329;p22">
              <a:extLst>
                <a:ext uri="{FF2B5EF4-FFF2-40B4-BE49-F238E27FC236}">
                  <a16:creationId xmlns:a16="http://schemas.microsoft.com/office/drawing/2014/main" id="{4A92EA75-A264-7540-A297-B9425B44E1B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50062" y="3504026"/>
              <a:ext cx="0" cy="415876"/>
            </a:xfrm>
            <a:prstGeom prst="straightConnector1">
              <a:avLst/>
            </a:prstGeom>
            <a:noFill/>
            <a:ln w="12700" cap="flat" cmpd="sng">
              <a:solidFill>
                <a:srgbClr val="294294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  <p:sp>
          <p:nvSpPr>
            <p:cNvPr id="111" name="Google Shape;330;p22">
              <a:extLst>
                <a:ext uri="{FF2B5EF4-FFF2-40B4-BE49-F238E27FC236}">
                  <a16:creationId xmlns:a16="http://schemas.microsoft.com/office/drawing/2014/main" id="{81F98F86-EDD7-5849-86B0-B51925ED08C5}"/>
                </a:ext>
              </a:extLst>
            </p:cNvPr>
            <p:cNvSpPr txBox="1"/>
            <p:nvPr/>
          </p:nvSpPr>
          <p:spPr>
            <a:xfrm>
              <a:off x="4212167" y="3499642"/>
              <a:ext cx="1108393" cy="26687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68569" rIns="68569" bIns="68569" anchor="t" anchorCtr="0">
              <a:noAutofit/>
            </a:bodyPr>
            <a:lstStyle/>
            <a:p>
              <a:pPr algn="ctr"/>
              <a:r>
                <a:rPr lang="en-US" sz="1050" dirty="0">
                  <a:latin typeface="Calibri"/>
                  <a:ea typeface="Calibri"/>
                  <a:cs typeface="Calibri"/>
                  <a:sym typeface="Calibri"/>
                </a:rPr>
                <a:t>Student &amp; SMS Status Update</a:t>
              </a:r>
              <a:endParaRPr sz="1050" dirty="0"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26" name="Google Shape;329;p22">
              <a:extLst>
                <a:ext uri="{FF2B5EF4-FFF2-40B4-BE49-F238E27FC236}">
                  <a16:creationId xmlns:a16="http://schemas.microsoft.com/office/drawing/2014/main" id="{6D0BE29B-B324-9349-9EFA-E9472C8F53EB}"/>
                </a:ext>
              </a:extLst>
            </p:cNvPr>
            <p:cNvCxnSpPr>
              <a:cxnSpLocks/>
            </p:cNvCxnSpPr>
            <p:nvPr/>
          </p:nvCxnSpPr>
          <p:spPr>
            <a:xfrm>
              <a:off x="6474774" y="3918093"/>
              <a:ext cx="833653" cy="0"/>
            </a:xfrm>
            <a:prstGeom prst="straightConnector1">
              <a:avLst/>
            </a:prstGeom>
            <a:noFill/>
            <a:ln w="12700" cap="flat" cmpd="sng">
              <a:solidFill>
                <a:srgbClr val="294294"/>
              </a:solidFill>
              <a:prstDash val="solid"/>
              <a:round/>
              <a:headEnd type="triangle" w="med" len="med"/>
              <a:tailEnd type="triangle" w="med" len="med"/>
            </a:ln>
          </p:spPr>
        </p:cxnSp>
        <p:pic>
          <p:nvPicPr>
            <p:cNvPr id="127" name="Picture 126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0DB5B3D2-5FDF-EE47-9DFE-8FBCBC9FAC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8451270" y="3700411"/>
              <a:ext cx="471284" cy="471284"/>
            </a:xfrm>
            <a:prstGeom prst="rect">
              <a:avLst/>
            </a:prstGeom>
          </p:spPr>
        </p:pic>
        <p:pic>
          <p:nvPicPr>
            <p:cNvPr id="128" name="Picture 127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77658AB6-1408-8D4E-AFCC-D98FE2E441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7358355" y="3682451"/>
              <a:ext cx="471284" cy="471284"/>
            </a:xfrm>
            <a:prstGeom prst="rect">
              <a:avLst/>
            </a:prstGeom>
          </p:spPr>
        </p:pic>
        <p:sp>
          <p:nvSpPr>
            <p:cNvPr id="130" name="Google Shape;330;p22">
              <a:extLst>
                <a:ext uri="{FF2B5EF4-FFF2-40B4-BE49-F238E27FC236}">
                  <a16:creationId xmlns:a16="http://schemas.microsoft.com/office/drawing/2014/main" id="{5AB3D7C8-A44C-6F43-A27F-1824610D3278}"/>
                </a:ext>
              </a:extLst>
            </p:cNvPr>
            <p:cNvSpPr txBox="1"/>
            <p:nvPr/>
          </p:nvSpPr>
          <p:spPr>
            <a:xfrm>
              <a:off x="8293344" y="4124319"/>
              <a:ext cx="802135" cy="26687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68569" rIns="68569" bIns="68569" anchor="t" anchorCtr="0">
              <a:noAutofit/>
            </a:bodyPr>
            <a:lstStyle/>
            <a:p>
              <a:pPr algn="ctr"/>
              <a:r>
                <a:rPr lang="en-US" sz="1050" dirty="0">
                  <a:latin typeface="Calibri"/>
                  <a:ea typeface="Calibri"/>
                  <a:cs typeface="Calibri"/>
                  <a:sym typeface="Calibri"/>
                </a:rPr>
                <a:t>SMS to Parent</a:t>
              </a:r>
              <a:endParaRPr sz="1050" dirty="0"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31" name="Google Shape;329;p22">
              <a:extLst>
                <a:ext uri="{FF2B5EF4-FFF2-40B4-BE49-F238E27FC236}">
                  <a16:creationId xmlns:a16="http://schemas.microsoft.com/office/drawing/2014/main" id="{CDB18B9C-FBA7-2C4B-9B2C-45FE16ADD069}"/>
                </a:ext>
              </a:extLst>
            </p:cNvPr>
            <p:cNvCxnSpPr>
              <a:cxnSpLocks/>
            </p:cNvCxnSpPr>
            <p:nvPr/>
          </p:nvCxnSpPr>
          <p:spPr>
            <a:xfrm>
              <a:off x="7838783" y="3918093"/>
              <a:ext cx="582085" cy="6919"/>
            </a:xfrm>
            <a:prstGeom prst="straightConnector1">
              <a:avLst/>
            </a:prstGeom>
            <a:noFill/>
            <a:ln w="12700" cap="flat" cmpd="sng">
              <a:solidFill>
                <a:srgbClr val="294294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  <p:sp>
          <p:nvSpPr>
            <p:cNvPr id="132" name="Right Bracket 131">
              <a:extLst>
                <a:ext uri="{FF2B5EF4-FFF2-40B4-BE49-F238E27FC236}">
                  <a16:creationId xmlns:a16="http://schemas.microsoft.com/office/drawing/2014/main" id="{6F8403CD-ADBE-D54C-A530-508261DF81C2}"/>
                </a:ext>
              </a:extLst>
            </p:cNvPr>
            <p:cNvSpPr/>
            <p:nvPr/>
          </p:nvSpPr>
          <p:spPr>
            <a:xfrm rot="5400000">
              <a:off x="7465433" y="3327018"/>
              <a:ext cx="139992" cy="2984173"/>
            </a:xfrm>
            <a:prstGeom prst="rightBracke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89F4C511-AD35-594E-9A9D-8C7AFC80B729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9867" y="3528971"/>
            <a:ext cx="436034" cy="331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3189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NEWSLIDENUMBER" val="False"/>
  <p:tag name="NEWNAMES" val="True"/>
  <p:tag name="PREVIOUSNAME" val="C:\Work\Gaurav\New folder\Samagra - about us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53yPrRNk.ZZTXCwOiK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xcWmSsnkmG9V6cBWEW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gULzCOiEK2daqv0qpF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heme/theme1.xml><?xml version="1.0" encoding="utf-8"?>
<a:theme xmlns:a="http://schemas.openxmlformats.org/drawingml/2006/main" name="1_Blank">
  <a:themeElements>
    <a:clrScheme name="Custom 50">
      <a:dk1>
        <a:srgbClr val="28292A"/>
      </a:dk1>
      <a:lt1>
        <a:srgbClr val="FFFFFF"/>
      </a:lt1>
      <a:dk2>
        <a:srgbClr val="294294"/>
      </a:dk2>
      <a:lt2>
        <a:srgbClr val="FFFFFF"/>
      </a:lt2>
      <a:accent1>
        <a:srgbClr val="FBE582"/>
      </a:accent1>
      <a:accent2>
        <a:srgbClr val="FF6900"/>
      </a:accent2>
      <a:accent3>
        <a:srgbClr val="30B5AE"/>
      </a:accent3>
      <a:accent4>
        <a:srgbClr val="E73754"/>
      </a:accent4>
      <a:accent5>
        <a:srgbClr val="294294"/>
      </a:accent5>
      <a:accent6>
        <a:srgbClr val="807E72"/>
      </a:accent6>
      <a:hlink>
        <a:srgbClr val="EC672C"/>
      </a:hlink>
      <a:folHlink>
        <a:srgbClr val="E73754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6900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Calibri" pitchFamily="34" charset="0"/>
            <a:cs typeface="Calibri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9050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E2E2E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DCDCD"/>
        </a:accent6>
        <a:hlink>
          <a:srgbClr val="9B9BA7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FFFFFF"/>
        </a:accent1>
        <a:accent2>
          <a:srgbClr val="E2E2E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DCDCD"/>
        </a:accent6>
        <a:hlink>
          <a:srgbClr val="9B9BA7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F8F8F8"/>
        </a:accent1>
        <a:accent2>
          <a:srgbClr val="E2E2E2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CDCDCD"/>
        </a:accent6>
        <a:hlink>
          <a:srgbClr val="9B9BA7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74C2E1"/>
        </a:accent1>
        <a:accent2>
          <a:srgbClr val="0191C8"/>
        </a:accent2>
        <a:accent3>
          <a:srgbClr val="FFFFFF"/>
        </a:accent3>
        <a:accent4>
          <a:srgbClr val="000000"/>
        </a:accent4>
        <a:accent5>
          <a:srgbClr val="BCDDEE"/>
        </a:accent5>
        <a:accent6>
          <a:srgbClr val="0183B5"/>
        </a:accent6>
        <a:hlink>
          <a:srgbClr val="8C8984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84C9E4"/>
        </a:accent1>
        <a:accent2>
          <a:srgbClr val="019BD9"/>
        </a:accent2>
        <a:accent3>
          <a:srgbClr val="FFFFFF"/>
        </a:accent3>
        <a:accent4>
          <a:srgbClr val="000000"/>
        </a:accent4>
        <a:accent5>
          <a:srgbClr val="C2E1EF"/>
        </a:accent5>
        <a:accent6>
          <a:srgbClr val="018CC4"/>
        </a:accent6>
        <a:hlink>
          <a:srgbClr val="8C8984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9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A0D5EA"/>
        </a:accent1>
        <a:accent2>
          <a:srgbClr val="01B2F9"/>
        </a:accent2>
        <a:accent3>
          <a:srgbClr val="FFFFFF"/>
        </a:accent3>
        <a:accent4>
          <a:srgbClr val="000000"/>
        </a:accent4>
        <a:accent5>
          <a:srgbClr val="CDE7F3"/>
        </a:accent5>
        <a:accent6>
          <a:srgbClr val="01A1E2"/>
        </a:accent6>
        <a:hlink>
          <a:srgbClr val="8C8984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0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A0D5EA"/>
        </a:accent1>
        <a:accent2>
          <a:srgbClr val="01A7E9"/>
        </a:accent2>
        <a:accent3>
          <a:srgbClr val="FFFFFF"/>
        </a:accent3>
        <a:accent4>
          <a:srgbClr val="000000"/>
        </a:accent4>
        <a:accent5>
          <a:srgbClr val="CDE7F3"/>
        </a:accent5>
        <a:accent6>
          <a:srgbClr val="0197D3"/>
        </a:accent6>
        <a:hlink>
          <a:srgbClr val="8C8984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1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A0D5EA"/>
        </a:accent1>
        <a:accent2>
          <a:srgbClr val="01A7E9"/>
        </a:accent2>
        <a:accent3>
          <a:srgbClr val="FFFFFF"/>
        </a:accent3>
        <a:accent4>
          <a:srgbClr val="000000"/>
        </a:accent4>
        <a:accent5>
          <a:srgbClr val="CDE7F3"/>
        </a:accent5>
        <a:accent6>
          <a:srgbClr val="0197D3"/>
        </a:accent6>
        <a:hlink>
          <a:srgbClr val="9B9BA7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2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A0D5EA"/>
        </a:accent1>
        <a:accent2>
          <a:srgbClr val="0198D5"/>
        </a:accent2>
        <a:accent3>
          <a:srgbClr val="FFFFFF"/>
        </a:accent3>
        <a:accent4>
          <a:srgbClr val="000000"/>
        </a:accent4>
        <a:accent5>
          <a:srgbClr val="CDE7F3"/>
        </a:accent5>
        <a:accent6>
          <a:srgbClr val="0189C1"/>
        </a:accent6>
        <a:hlink>
          <a:srgbClr val="9B9BA7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3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A0D5EA"/>
        </a:accent1>
        <a:accent2>
          <a:srgbClr val="0198D5"/>
        </a:accent2>
        <a:accent3>
          <a:srgbClr val="FFFFFF"/>
        </a:accent3>
        <a:accent4>
          <a:srgbClr val="000000"/>
        </a:accent4>
        <a:accent5>
          <a:srgbClr val="CDE7F3"/>
        </a:accent5>
        <a:accent6>
          <a:srgbClr val="0189C1"/>
        </a:accent6>
        <a:hlink>
          <a:srgbClr val="898997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4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A0D5EA"/>
        </a:accent1>
        <a:accent2>
          <a:srgbClr val="0198D5"/>
        </a:accent2>
        <a:accent3>
          <a:srgbClr val="FFFFFF"/>
        </a:accent3>
        <a:accent4>
          <a:srgbClr val="000000"/>
        </a:accent4>
        <a:accent5>
          <a:srgbClr val="CDE7F3"/>
        </a:accent5>
        <a:accent6>
          <a:srgbClr val="0189C1"/>
        </a:accent6>
        <a:hlink>
          <a:srgbClr val="FF9900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5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BAE1F0"/>
        </a:accent1>
        <a:accent2>
          <a:srgbClr val="0198D5"/>
        </a:accent2>
        <a:accent3>
          <a:srgbClr val="FFFFFF"/>
        </a:accent3>
        <a:accent4>
          <a:srgbClr val="000000"/>
        </a:accent4>
        <a:accent5>
          <a:srgbClr val="D9EEF6"/>
        </a:accent5>
        <a:accent6>
          <a:srgbClr val="0189C1"/>
        </a:accent6>
        <a:hlink>
          <a:srgbClr val="FF9900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6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CCE9F4"/>
        </a:accent1>
        <a:accent2>
          <a:srgbClr val="0198D5"/>
        </a:accent2>
        <a:accent3>
          <a:srgbClr val="FFFFFF"/>
        </a:accent3>
        <a:accent4>
          <a:srgbClr val="000000"/>
        </a:accent4>
        <a:accent5>
          <a:srgbClr val="E2F2F8"/>
        </a:accent5>
        <a:accent6>
          <a:srgbClr val="0189C1"/>
        </a:accent6>
        <a:hlink>
          <a:srgbClr val="FF9900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amagra new template.potx" id="{0FEE8964-314C-4739-8495-BF07049715E9}" vid="{511DB028-5497-4A6A-8AB2-A231995D8DC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78420</TotalTime>
  <Words>157</Words>
  <Application>Microsoft Macintosh PowerPoint</Application>
  <PresentationFormat>On-screen Show (4:3)</PresentationFormat>
  <Paragraphs>43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Calibri</vt:lpstr>
      <vt:lpstr>1_Blank</vt:lpstr>
      <vt:lpstr>think-cell Slid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magra Transforming Governance</dc:title>
  <dc:creator>Vineet Thakur</dc:creator>
  <cp:lastModifiedBy>Sukhpreet Sekhon</cp:lastModifiedBy>
  <cp:revision>1040</cp:revision>
  <cp:lastPrinted>2020-05-21T10:11:00Z</cp:lastPrinted>
  <dcterms:created xsi:type="dcterms:W3CDTF">2018-06-10T10:44:41Z</dcterms:created>
  <dcterms:modified xsi:type="dcterms:W3CDTF">2020-06-10T01:44:03Z</dcterms:modified>
</cp:coreProperties>
</file>